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1"/>
  </p:notesMasterIdLst>
  <p:sldIdLst>
    <p:sldId id="2113690370" r:id="rId2"/>
    <p:sldId id="2113690371" r:id="rId3"/>
    <p:sldId id="6252" r:id="rId4"/>
    <p:sldId id="6256" r:id="rId5"/>
    <p:sldId id="259" r:id="rId6"/>
    <p:sldId id="2113690354" r:id="rId7"/>
    <p:sldId id="2113690377" r:id="rId8"/>
    <p:sldId id="2113690372" r:id="rId9"/>
    <p:sldId id="2113690350" r:id="rId10"/>
    <p:sldId id="6248" r:id="rId11"/>
    <p:sldId id="274" r:id="rId12"/>
    <p:sldId id="2113690381" r:id="rId13"/>
    <p:sldId id="2113690369" r:id="rId14"/>
    <p:sldId id="6249" r:id="rId15"/>
    <p:sldId id="6250" r:id="rId16"/>
    <p:sldId id="2113690379" r:id="rId17"/>
    <p:sldId id="6251" r:id="rId18"/>
    <p:sldId id="2113690378" r:id="rId19"/>
    <p:sldId id="2113690352" r:id="rId20"/>
  </p:sldIdLst>
  <p:sldSz cx="12192000" cy="6858000"/>
  <p:notesSz cx="9144000" cy="6858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83CBFA-B3C4-4454-AF8B-47E4E55EF8D2}">
          <p14:sldIdLst>
            <p14:sldId id="2113690370"/>
            <p14:sldId id="2113690371"/>
            <p14:sldId id="6252"/>
            <p14:sldId id="6256"/>
            <p14:sldId id="259"/>
            <p14:sldId id="2113690354"/>
            <p14:sldId id="2113690377"/>
            <p14:sldId id="2113690372"/>
            <p14:sldId id="2113690350"/>
            <p14:sldId id="6248"/>
            <p14:sldId id="274"/>
            <p14:sldId id="2113690381"/>
            <p14:sldId id="2113690369"/>
            <p14:sldId id="6249"/>
            <p14:sldId id="6250"/>
            <p14:sldId id="2113690379"/>
            <p14:sldId id="6251"/>
            <p14:sldId id="2113690378"/>
            <p14:sldId id="2113690352"/>
          </p14:sldIdLst>
        </p14:section>
      </p14:sectionLst>
    </p:ext>
    <p:ext uri="{EFAFB233-063F-42B5-8137-9DF3F51BA10A}">
      <p15:sldGuideLst xmlns:p15="http://schemas.microsoft.com/office/powerpoint/2012/main">
        <p15:guide id="1" orient="horz" pos="288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ng, Emma3 /CN" initials="WE/" lastIdx="2" clrIdx="0">
    <p:extLst>
      <p:ext uri="{19B8F6BF-5375-455C-9EA6-DF929625EA0E}">
        <p15:presenceInfo xmlns:p15="http://schemas.microsoft.com/office/powerpoint/2012/main" userId="S::Emma3.Wang@sanofi.com::280d7957-14dc-4fdd-9bd3-1776367402dd" providerId="AD"/>
      </p:ext>
    </p:extLst>
  </p:cmAuthor>
  <p:cmAuthor id="2" name="Mu, Xiaolan" initials="MuX" lastIdx="18" clrIdx="1">
    <p:extLst>
      <p:ext uri="{19B8F6BF-5375-455C-9EA6-DF929625EA0E}">
        <p15:presenceInfo xmlns:p15="http://schemas.microsoft.com/office/powerpoint/2012/main" userId="Mu, Xiaolan" providerId="None"/>
      </p:ext>
    </p:extLst>
  </p:cmAuthor>
  <p:cmAuthor id="3" name="Yang, Leo /CN" initials="YL/" lastIdx="1" clrIdx="2">
    <p:extLst>
      <p:ext uri="{19B8F6BF-5375-455C-9EA6-DF929625EA0E}">
        <p15:presenceInfo xmlns:p15="http://schemas.microsoft.com/office/powerpoint/2012/main" userId="S::Leo.Yang@sanofi.com::913931a0-aa56-4645-9fe2-0869c073bb87" providerId="AD"/>
      </p:ext>
    </p:extLst>
  </p:cmAuthor>
  <p:cmAuthor id="4" name="Zhao, Fang3 /CN" initials="ZF/" lastIdx="2" clrIdx="3">
    <p:extLst>
      <p:ext uri="{19B8F6BF-5375-455C-9EA6-DF929625EA0E}">
        <p15:presenceInfo xmlns:p15="http://schemas.microsoft.com/office/powerpoint/2012/main" userId="S::Fang3.Zhao@sanofi.com::6d45d956-d2a8-45bc-8431-7b59b21eb9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3735"/>
    <a:srgbClr val="9B000B"/>
    <a:srgbClr val="F2DCDB"/>
    <a:srgbClr val="A31620"/>
    <a:srgbClr val="FFFFFF"/>
    <a:srgbClr val="D99694"/>
    <a:srgbClr val="A6A6A6"/>
    <a:srgbClr val="8F1D24"/>
    <a:srgbClr val="C4BD97"/>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C62225-7380-4720-B74A-F2AB76A474AD}" v="9" dt="2022-11-13T05:49:49.908"/>
    <p1510:client id="{1A93B1CF-523F-4F1B-AA8D-028D655E9ED3}" v="21" dt="2022-11-13T06:51:32.12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09" autoAdjust="0"/>
    <p:restoredTop sz="94227" autoAdjust="0"/>
  </p:normalViewPr>
  <p:slideViewPr>
    <p:cSldViewPr>
      <p:cViewPr varScale="1">
        <p:scale>
          <a:sx n="72" d="100"/>
          <a:sy n="72" d="100"/>
        </p:scale>
        <p:origin x="726" y="54"/>
      </p:cViewPr>
      <p:guideLst>
        <p:guide orient="horz" pos="2880"/>
        <p:guide pos="2880"/>
      </p:guideLst>
    </p:cSldViewPr>
  </p:slideViewPr>
  <p:notesTextViewPr>
    <p:cViewPr>
      <p:scale>
        <a:sx n="3" d="2"/>
        <a:sy n="3" d="2"/>
      </p:scale>
      <p:origin x="0" y="0"/>
    </p:cViewPr>
  </p:notesTextViewPr>
  <p:sorterViewPr>
    <p:cViewPr varScale="1">
      <p:scale>
        <a:sx n="1" d="1"/>
        <a:sy n="1" d="1"/>
      </p:scale>
      <p:origin x="0" y="-139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o, Fang3 /CN" userId="6d45d956-d2a8-45bc-8431-7b59b21eb9ee" providerId="ADAL" clId="{1A93B1CF-523F-4F1B-AA8D-028D655E9ED3}"/>
    <pc:docChg chg="custSel addSld delSld modSld sldOrd modSection">
      <pc:chgData name="Zhao, Fang3 /CN" userId="6d45d956-d2a8-45bc-8431-7b59b21eb9ee" providerId="ADAL" clId="{1A93B1CF-523F-4F1B-AA8D-028D655E9ED3}" dt="2022-11-13T06:58:42.655" v="863" actId="20577"/>
      <pc:docMkLst>
        <pc:docMk/>
      </pc:docMkLst>
      <pc:sldChg chg="modSp mod">
        <pc:chgData name="Zhao, Fang3 /CN" userId="6d45d956-d2a8-45bc-8431-7b59b21eb9ee" providerId="ADAL" clId="{1A93B1CF-523F-4F1B-AA8D-028D655E9ED3}" dt="2022-11-13T06:55:32.656" v="853" actId="20577"/>
        <pc:sldMkLst>
          <pc:docMk/>
          <pc:sldMk cId="1136407195" sldId="6250"/>
        </pc:sldMkLst>
        <pc:spChg chg="mod">
          <ac:chgData name="Zhao, Fang3 /CN" userId="6d45d956-d2a8-45bc-8431-7b59b21eb9ee" providerId="ADAL" clId="{1A93B1CF-523F-4F1B-AA8D-028D655E9ED3}" dt="2022-11-13T06:55:32.656" v="853" actId="20577"/>
          <ac:spMkLst>
            <pc:docMk/>
            <pc:sldMk cId="1136407195" sldId="6250"/>
            <ac:spMk id="7" creationId="{022DE1AA-C052-4F58-9CBA-F1B5EBF3EA09}"/>
          </ac:spMkLst>
        </pc:spChg>
      </pc:sldChg>
      <pc:sldChg chg="modSp mod">
        <pc:chgData name="Zhao, Fang3 /CN" userId="6d45d956-d2a8-45bc-8431-7b59b21eb9ee" providerId="ADAL" clId="{1A93B1CF-523F-4F1B-AA8D-028D655E9ED3}" dt="2022-11-13T06:55:37.849" v="854" actId="20577"/>
        <pc:sldMkLst>
          <pc:docMk/>
          <pc:sldMk cId="1554019759" sldId="6251"/>
        </pc:sldMkLst>
        <pc:spChg chg="mod">
          <ac:chgData name="Zhao, Fang3 /CN" userId="6d45d956-d2a8-45bc-8431-7b59b21eb9ee" providerId="ADAL" clId="{1A93B1CF-523F-4F1B-AA8D-028D655E9ED3}" dt="2022-11-13T06:55:37.849" v="854" actId="20577"/>
          <ac:spMkLst>
            <pc:docMk/>
            <pc:sldMk cId="1554019759" sldId="6251"/>
            <ac:spMk id="9" creationId="{013D94FE-2B2B-42CB-AA0B-0D9DF1856A0D}"/>
          </ac:spMkLst>
        </pc:spChg>
      </pc:sldChg>
      <pc:sldChg chg="modSp mod">
        <pc:chgData name="Zhao, Fang3 /CN" userId="6d45d956-d2a8-45bc-8431-7b59b21eb9ee" providerId="ADAL" clId="{1A93B1CF-523F-4F1B-AA8D-028D655E9ED3}" dt="2022-11-13T06:58:42.655" v="863" actId="20577"/>
        <pc:sldMkLst>
          <pc:docMk/>
          <pc:sldMk cId="3656256720" sldId="2113690370"/>
        </pc:sldMkLst>
        <pc:spChg chg="mod">
          <ac:chgData name="Zhao, Fang3 /CN" userId="6d45d956-d2a8-45bc-8431-7b59b21eb9ee" providerId="ADAL" clId="{1A93B1CF-523F-4F1B-AA8D-028D655E9ED3}" dt="2022-11-13T06:58:42.655" v="863" actId="20577"/>
          <ac:spMkLst>
            <pc:docMk/>
            <pc:sldMk cId="3656256720" sldId="2113690370"/>
            <ac:spMk id="4" creationId="{16E84AE0-F627-4087-8EA0-9AFC666430F7}"/>
          </ac:spMkLst>
        </pc:spChg>
      </pc:sldChg>
      <pc:sldChg chg="modSp mod">
        <pc:chgData name="Zhao, Fang3 /CN" userId="6d45d956-d2a8-45bc-8431-7b59b21eb9ee" providerId="ADAL" clId="{1A93B1CF-523F-4F1B-AA8D-028D655E9ED3}" dt="2022-11-13T06:55:41.084" v="855" actId="20577"/>
        <pc:sldMkLst>
          <pc:docMk/>
          <pc:sldMk cId="647020187" sldId="2113690378"/>
        </pc:sldMkLst>
        <pc:spChg chg="mod">
          <ac:chgData name="Zhao, Fang3 /CN" userId="6d45d956-d2a8-45bc-8431-7b59b21eb9ee" providerId="ADAL" clId="{1A93B1CF-523F-4F1B-AA8D-028D655E9ED3}" dt="2022-11-13T06:55:41.084" v="855" actId="20577"/>
          <ac:spMkLst>
            <pc:docMk/>
            <pc:sldMk cId="647020187" sldId="2113690378"/>
            <ac:spMk id="8" creationId="{022DE1AA-C052-4F58-9CBA-F1B5EBF3EA09}"/>
          </ac:spMkLst>
        </pc:spChg>
      </pc:sldChg>
      <pc:sldChg chg="new add del">
        <pc:chgData name="Zhao, Fang3 /CN" userId="6d45d956-d2a8-45bc-8431-7b59b21eb9ee" providerId="ADAL" clId="{1A93B1CF-523F-4F1B-AA8D-028D655E9ED3}" dt="2022-11-13T06:35:02.275" v="2" actId="2696"/>
        <pc:sldMkLst>
          <pc:docMk/>
          <pc:sldMk cId="3014037425" sldId="2113690380"/>
        </pc:sldMkLst>
      </pc:sldChg>
      <pc:sldChg chg="new add del">
        <pc:chgData name="Zhao, Fang3 /CN" userId="6d45d956-d2a8-45bc-8431-7b59b21eb9ee" providerId="ADAL" clId="{1A93B1CF-523F-4F1B-AA8D-028D655E9ED3}" dt="2022-11-13T06:35:50.879" v="7" actId="2696"/>
        <pc:sldMkLst>
          <pc:docMk/>
          <pc:sldMk cId="3567283057" sldId="2113690380"/>
        </pc:sldMkLst>
      </pc:sldChg>
      <pc:sldChg chg="addSp delSp modSp new add mod ord">
        <pc:chgData name="Zhao, Fang3 /CN" userId="6d45d956-d2a8-45bc-8431-7b59b21eb9ee" providerId="ADAL" clId="{1A93B1CF-523F-4F1B-AA8D-028D655E9ED3}" dt="2022-11-13T06:55:25.157" v="852" actId="20577"/>
        <pc:sldMkLst>
          <pc:docMk/>
          <pc:sldMk cId="1901455850" sldId="2113690381"/>
        </pc:sldMkLst>
        <pc:spChg chg="mod">
          <ac:chgData name="Zhao, Fang3 /CN" userId="6d45d956-d2a8-45bc-8431-7b59b21eb9ee" providerId="ADAL" clId="{1A93B1CF-523F-4F1B-AA8D-028D655E9ED3}" dt="2022-11-13T06:38:17.667" v="292" actId="14100"/>
          <ac:spMkLst>
            <pc:docMk/>
            <pc:sldMk cId="1901455850" sldId="2113690381"/>
            <ac:spMk id="2" creationId="{F565F69B-3721-4556-92C7-A7DE6CD751CD}"/>
          </ac:spMkLst>
        </pc:spChg>
        <pc:spChg chg="del">
          <ac:chgData name="Zhao, Fang3 /CN" userId="6d45d956-d2a8-45bc-8431-7b59b21eb9ee" providerId="ADAL" clId="{1A93B1CF-523F-4F1B-AA8D-028D655E9ED3}" dt="2022-11-13T06:35:55.216" v="10" actId="478"/>
          <ac:spMkLst>
            <pc:docMk/>
            <pc:sldMk cId="1901455850" sldId="2113690381"/>
            <ac:spMk id="3" creationId="{7F8C0F54-1607-4E8C-84DD-DA1672332145}"/>
          </ac:spMkLst>
        </pc:spChg>
        <pc:spChg chg="add mod">
          <ac:chgData name="Zhao, Fang3 /CN" userId="6d45d956-d2a8-45bc-8431-7b59b21eb9ee" providerId="ADAL" clId="{1A93B1CF-523F-4F1B-AA8D-028D655E9ED3}" dt="2022-11-13T06:55:25.157" v="852" actId="20577"/>
          <ac:spMkLst>
            <pc:docMk/>
            <pc:sldMk cId="1901455850" sldId="2113690381"/>
            <ac:spMk id="5" creationId="{6EB5B160-4C80-45D3-9352-69DDADDDCACE}"/>
          </ac:spMkLst>
        </pc:spChg>
        <pc:spChg chg="add mod">
          <ac:chgData name="Zhao, Fang3 /CN" userId="6d45d956-d2a8-45bc-8431-7b59b21eb9ee" providerId="ADAL" clId="{1A93B1CF-523F-4F1B-AA8D-028D655E9ED3}" dt="2022-11-13T06:52:19.154" v="850" actId="1076"/>
          <ac:spMkLst>
            <pc:docMk/>
            <pc:sldMk cId="1901455850" sldId="2113690381"/>
            <ac:spMk id="8" creationId="{8BEBA8EC-EE32-463B-AB79-9AADFAB09AFD}"/>
          </ac:spMkLst>
        </pc:spChg>
        <pc:spChg chg="add mod">
          <ac:chgData name="Zhao, Fang3 /CN" userId="6d45d956-d2a8-45bc-8431-7b59b21eb9ee" providerId="ADAL" clId="{1A93B1CF-523F-4F1B-AA8D-028D655E9ED3}" dt="2022-11-13T06:52:19.154" v="850" actId="1076"/>
          <ac:spMkLst>
            <pc:docMk/>
            <pc:sldMk cId="1901455850" sldId="2113690381"/>
            <ac:spMk id="9" creationId="{02817BEB-41B0-430B-9516-48CB86A664C1}"/>
          </ac:spMkLst>
        </pc:spChg>
        <pc:spChg chg="add mod">
          <ac:chgData name="Zhao, Fang3 /CN" userId="6d45d956-d2a8-45bc-8431-7b59b21eb9ee" providerId="ADAL" clId="{1A93B1CF-523F-4F1B-AA8D-028D655E9ED3}" dt="2022-11-13T06:52:19.154" v="850" actId="1076"/>
          <ac:spMkLst>
            <pc:docMk/>
            <pc:sldMk cId="1901455850" sldId="2113690381"/>
            <ac:spMk id="10" creationId="{8186B365-9BBF-46E1-A86B-01AB65413DB6}"/>
          </ac:spMkLst>
        </pc:spChg>
        <pc:spChg chg="add mod">
          <ac:chgData name="Zhao, Fang3 /CN" userId="6d45d956-d2a8-45bc-8431-7b59b21eb9ee" providerId="ADAL" clId="{1A93B1CF-523F-4F1B-AA8D-028D655E9ED3}" dt="2022-11-13T06:52:19.154" v="850" actId="1076"/>
          <ac:spMkLst>
            <pc:docMk/>
            <pc:sldMk cId="1901455850" sldId="2113690381"/>
            <ac:spMk id="11" creationId="{AB7A1D41-B606-4D31-9293-750A6B30D700}"/>
          </ac:spMkLst>
        </pc:spChg>
        <pc:spChg chg="add mod ord">
          <ac:chgData name="Zhao, Fang3 /CN" userId="6d45d956-d2a8-45bc-8431-7b59b21eb9ee" providerId="ADAL" clId="{1A93B1CF-523F-4F1B-AA8D-028D655E9ED3}" dt="2022-11-13T06:42:34.387" v="536" actId="166"/>
          <ac:spMkLst>
            <pc:docMk/>
            <pc:sldMk cId="1901455850" sldId="2113690381"/>
            <ac:spMk id="12" creationId="{D43F4A0E-FB17-4C31-BDDE-BA235EFF6719}"/>
          </ac:spMkLst>
        </pc:spChg>
        <pc:spChg chg="add mod">
          <ac:chgData name="Zhao, Fang3 /CN" userId="6d45d956-d2a8-45bc-8431-7b59b21eb9ee" providerId="ADAL" clId="{1A93B1CF-523F-4F1B-AA8D-028D655E9ED3}" dt="2022-11-13T06:42:22.414" v="533" actId="14100"/>
          <ac:spMkLst>
            <pc:docMk/>
            <pc:sldMk cId="1901455850" sldId="2113690381"/>
            <ac:spMk id="13" creationId="{2114EE63-7F29-4EB1-AFE7-C065EDE88355}"/>
          </ac:spMkLst>
        </pc:spChg>
        <pc:spChg chg="add mod">
          <ac:chgData name="Zhao, Fang3 /CN" userId="6d45d956-d2a8-45bc-8431-7b59b21eb9ee" providerId="ADAL" clId="{1A93B1CF-523F-4F1B-AA8D-028D655E9ED3}" dt="2022-11-13T06:52:19.154" v="850" actId="1076"/>
          <ac:spMkLst>
            <pc:docMk/>
            <pc:sldMk cId="1901455850" sldId="2113690381"/>
            <ac:spMk id="14" creationId="{1BAD064A-450B-41C8-AE89-E9202FFC28E1}"/>
          </ac:spMkLst>
        </pc:spChg>
        <pc:spChg chg="add mod">
          <ac:chgData name="Zhao, Fang3 /CN" userId="6d45d956-d2a8-45bc-8431-7b59b21eb9ee" providerId="ADAL" clId="{1A93B1CF-523F-4F1B-AA8D-028D655E9ED3}" dt="2022-11-13T06:52:19.154" v="850" actId="1076"/>
          <ac:spMkLst>
            <pc:docMk/>
            <pc:sldMk cId="1901455850" sldId="2113690381"/>
            <ac:spMk id="15" creationId="{A178C583-9E93-4B9E-A64D-79A38B7C0037}"/>
          </ac:spMkLst>
        </pc:spChg>
        <pc:spChg chg="add mod">
          <ac:chgData name="Zhao, Fang3 /CN" userId="6d45d956-d2a8-45bc-8431-7b59b21eb9ee" providerId="ADAL" clId="{1A93B1CF-523F-4F1B-AA8D-028D655E9ED3}" dt="2022-11-13T06:52:19.154" v="850" actId="1076"/>
          <ac:spMkLst>
            <pc:docMk/>
            <pc:sldMk cId="1901455850" sldId="2113690381"/>
            <ac:spMk id="16" creationId="{7F78CD42-858A-4028-8F18-D7B4F94BA97D}"/>
          </ac:spMkLst>
        </pc:spChg>
        <pc:spChg chg="add mod">
          <ac:chgData name="Zhao, Fang3 /CN" userId="6d45d956-d2a8-45bc-8431-7b59b21eb9ee" providerId="ADAL" clId="{1A93B1CF-523F-4F1B-AA8D-028D655E9ED3}" dt="2022-11-13T06:52:19.154" v="850" actId="1076"/>
          <ac:spMkLst>
            <pc:docMk/>
            <pc:sldMk cId="1901455850" sldId="2113690381"/>
            <ac:spMk id="17" creationId="{558DFB0E-7309-4757-B2CB-A40741DB6E8E}"/>
          </ac:spMkLst>
        </pc:spChg>
        <pc:spChg chg="add mod">
          <ac:chgData name="Zhao, Fang3 /CN" userId="6d45d956-d2a8-45bc-8431-7b59b21eb9ee" providerId="ADAL" clId="{1A93B1CF-523F-4F1B-AA8D-028D655E9ED3}" dt="2022-11-13T06:52:19.154" v="850" actId="1076"/>
          <ac:spMkLst>
            <pc:docMk/>
            <pc:sldMk cId="1901455850" sldId="2113690381"/>
            <ac:spMk id="18" creationId="{DA0E5966-2784-4728-BD7E-6E6F4D539A15}"/>
          </ac:spMkLst>
        </pc:spChg>
        <pc:spChg chg="add mod">
          <ac:chgData name="Zhao, Fang3 /CN" userId="6d45d956-d2a8-45bc-8431-7b59b21eb9ee" providerId="ADAL" clId="{1A93B1CF-523F-4F1B-AA8D-028D655E9ED3}" dt="2022-11-13T06:52:19.154" v="850" actId="1076"/>
          <ac:spMkLst>
            <pc:docMk/>
            <pc:sldMk cId="1901455850" sldId="2113690381"/>
            <ac:spMk id="19" creationId="{03A9F02B-5E9D-4FD1-8EA7-AB94F0EA126D}"/>
          </ac:spMkLst>
        </pc:spChg>
        <pc:spChg chg="add mod">
          <ac:chgData name="Zhao, Fang3 /CN" userId="6d45d956-d2a8-45bc-8431-7b59b21eb9ee" providerId="ADAL" clId="{1A93B1CF-523F-4F1B-AA8D-028D655E9ED3}" dt="2022-11-13T06:52:19.154" v="850" actId="1076"/>
          <ac:spMkLst>
            <pc:docMk/>
            <pc:sldMk cId="1901455850" sldId="2113690381"/>
            <ac:spMk id="20" creationId="{87A00763-68A8-4D2B-8E29-B96545E8AC7B}"/>
          </ac:spMkLst>
        </pc:spChg>
        <pc:spChg chg="add mod">
          <ac:chgData name="Zhao, Fang3 /CN" userId="6d45d956-d2a8-45bc-8431-7b59b21eb9ee" providerId="ADAL" clId="{1A93B1CF-523F-4F1B-AA8D-028D655E9ED3}" dt="2022-11-13T06:52:19.154" v="850" actId="1076"/>
          <ac:spMkLst>
            <pc:docMk/>
            <pc:sldMk cId="1901455850" sldId="2113690381"/>
            <ac:spMk id="21" creationId="{8E3581DB-CE02-4D0C-9A24-EA0D78A8E9E9}"/>
          </ac:spMkLst>
        </pc:spChg>
        <pc:spChg chg="add mod">
          <ac:chgData name="Zhao, Fang3 /CN" userId="6d45d956-d2a8-45bc-8431-7b59b21eb9ee" providerId="ADAL" clId="{1A93B1CF-523F-4F1B-AA8D-028D655E9ED3}" dt="2022-11-13T06:52:19.154" v="850" actId="1076"/>
          <ac:spMkLst>
            <pc:docMk/>
            <pc:sldMk cId="1901455850" sldId="2113690381"/>
            <ac:spMk id="22" creationId="{D22E4AE7-B443-4D04-968A-289A3E8459E5}"/>
          </ac:spMkLst>
        </pc:spChg>
        <pc:spChg chg="add mod">
          <ac:chgData name="Zhao, Fang3 /CN" userId="6d45d956-d2a8-45bc-8431-7b59b21eb9ee" providerId="ADAL" clId="{1A93B1CF-523F-4F1B-AA8D-028D655E9ED3}" dt="2022-11-13T06:52:19.154" v="850" actId="1076"/>
          <ac:spMkLst>
            <pc:docMk/>
            <pc:sldMk cId="1901455850" sldId="2113690381"/>
            <ac:spMk id="23" creationId="{643C60AD-4B0E-4C01-AC1A-92BAEB4BB6B9}"/>
          </ac:spMkLst>
        </pc:spChg>
        <pc:spChg chg="add mod">
          <ac:chgData name="Zhao, Fang3 /CN" userId="6d45d956-d2a8-45bc-8431-7b59b21eb9ee" providerId="ADAL" clId="{1A93B1CF-523F-4F1B-AA8D-028D655E9ED3}" dt="2022-11-13T06:52:19.154" v="850" actId="1076"/>
          <ac:spMkLst>
            <pc:docMk/>
            <pc:sldMk cId="1901455850" sldId="2113690381"/>
            <ac:spMk id="24" creationId="{94C40728-034E-4C0E-AFF1-E0177D784A87}"/>
          </ac:spMkLst>
        </pc:spChg>
        <pc:spChg chg="add mod">
          <ac:chgData name="Zhao, Fang3 /CN" userId="6d45d956-d2a8-45bc-8431-7b59b21eb9ee" providerId="ADAL" clId="{1A93B1CF-523F-4F1B-AA8D-028D655E9ED3}" dt="2022-11-13T06:52:19.154" v="850" actId="1076"/>
          <ac:spMkLst>
            <pc:docMk/>
            <pc:sldMk cId="1901455850" sldId="2113690381"/>
            <ac:spMk id="25" creationId="{B5645EC6-4367-4C77-A0E5-AEB1B91A4744}"/>
          </ac:spMkLst>
        </pc:spChg>
        <pc:spChg chg="add del mod ord">
          <ac:chgData name="Zhao, Fang3 /CN" userId="6d45d956-d2a8-45bc-8431-7b59b21eb9ee" providerId="ADAL" clId="{1A93B1CF-523F-4F1B-AA8D-028D655E9ED3}" dt="2022-11-13T06:51:27.592" v="830" actId="478"/>
          <ac:spMkLst>
            <pc:docMk/>
            <pc:sldMk cId="1901455850" sldId="2113690381"/>
            <ac:spMk id="26" creationId="{730627D0-8F03-4B43-AA8E-452A6D891F49}"/>
          </ac:spMkLst>
        </pc:spChg>
        <pc:spChg chg="add mod">
          <ac:chgData name="Zhao, Fang3 /CN" userId="6d45d956-d2a8-45bc-8431-7b59b21eb9ee" providerId="ADAL" clId="{1A93B1CF-523F-4F1B-AA8D-028D655E9ED3}" dt="2022-11-13T06:52:19.154" v="850" actId="1076"/>
          <ac:spMkLst>
            <pc:docMk/>
            <pc:sldMk cId="1901455850" sldId="2113690381"/>
            <ac:spMk id="27" creationId="{1B084971-1015-4B88-8F77-F95299811DC5}"/>
          </ac:spMkLst>
        </pc:spChg>
        <pc:spChg chg="add mod ord">
          <ac:chgData name="Zhao, Fang3 /CN" userId="6d45d956-d2a8-45bc-8431-7b59b21eb9ee" providerId="ADAL" clId="{1A93B1CF-523F-4F1B-AA8D-028D655E9ED3}" dt="2022-11-13T06:52:19.154" v="850" actId="1076"/>
          <ac:spMkLst>
            <pc:docMk/>
            <pc:sldMk cId="1901455850" sldId="2113690381"/>
            <ac:spMk id="28" creationId="{13E724E1-9CF6-469F-955D-9CF9E8F01D4F}"/>
          </ac:spMkLst>
        </pc:spChg>
        <pc:picChg chg="add mod modCrop">
          <ac:chgData name="Zhao, Fang3 /CN" userId="6d45d956-d2a8-45bc-8431-7b59b21eb9ee" providerId="ADAL" clId="{1A93B1CF-523F-4F1B-AA8D-028D655E9ED3}" dt="2022-11-13T06:38:49.297" v="300" actId="1076"/>
          <ac:picMkLst>
            <pc:docMk/>
            <pc:sldMk cId="1901455850" sldId="2113690381"/>
            <ac:picMk id="6" creationId="{9A794020-2B2C-4F35-BD72-FB1FE16D45E9}"/>
          </ac:picMkLst>
        </pc:picChg>
        <pc:picChg chg="add mod modCrop">
          <ac:chgData name="Zhao, Fang3 /CN" userId="6d45d956-d2a8-45bc-8431-7b59b21eb9ee" providerId="ADAL" clId="{1A93B1CF-523F-4F1B-AA8D-028D655E9ED3}" dt="2022-11-13T06:38:50.237" v="301" actId="1076"/>
          <ac:picMkLst>
            <pc:docMk/>
            <pc:sldMk cId="1901455850" sldId="2113690381"/>
            <ac:picMk id="7" creationId="{F87285DE-1FD2-4B88-8A7F-763F269D0B90}"/>
          </ac:picMkLst>
        </pc:picChg>
      </pc:sldChg>
    </pc:docChg>
  </pc:docChgLst>
  <pc:docChgLst>
    <pc:chgData name="Zhao, Fang3 /CN" userId="6d45d956-d2a8-45bc-8431-7b59b21eb9ee" providerId="ADAL" clId="{21B43901-D3AB-47B4-9319-66D9F4E863AE}"/>
    <pc:docChg chg="modSld">
      <pc:chgData name="Zhao, Fang3 /CN" userId="6d45d956-d2a8-45bc-8431-7b59b21eb9ee" providerId="ADAL" clId="{21B43901-D3AB-47B4-9319-66D9F4E863AE}" dt="2022-01-28T03:18:12.635" v="1"/>
      <pc:docMkLst>
        <pc:docMk/>
      </pc:docMkLst>
      <pc:sldChg chg="modSp">
        <pc:chgData name="Zhao, Fang3 /CN" userId="6d45d956-d2a8-45bc-8431-7b59b21eb9ee" providerId="ADAL" clId="{21B43901-D3AB-47B4-9319-66D9F4E863AE}" dt="2022-01-28T03:18:12.635" v="1"/>
        <pc:sldMkLst>
          <pc:docMk/>
          <pc:sldMk cId="1136407195" sldId="6250"/>
        </pc:sldMkLst>
        <pc:graphicFrameChg chg="mod">
          <ac:chgData name="Zhao, Fang3 /CN" userId="6d45d956-d2a8-45bc-8431-7b59b21eb9ee" providerId="ADAL" clId="{21B43901-D3AB-47B4-9319-66D9F4E863AE}" dt="2022-01-28T03:18:12.635" v="1"/>
          <ac:graphicFrameMkLst>
            <pc:docMk/>
            <pc:sldMk cId="1136407195" sldId="6250"/>
            <ac:graphicFrameMk id="6" creationId="{297B7288-5CD5-41D0-BAA3-0AD9E4AE3120}"/>
          </ac:graphicFrameMkLst>
        </pc:graphicFrameChg>
      </pc:sldChg>
    </pc:docChg>
  </pc:docChgLst>
  <pc:docChgLst>
    <pc:chgData name="Zhao, Fang3 /CN" userId="6d45d956-d2a8-45bc-8431-7b59b21eb9ee" providerId="ADAL" clId="{4E3FBBD7-0A9D-4AAA-BD73-32EE2569F5C2}"/>
    <pc:docChg chg="modSld">
      <pc:chgData name="Zhao, Fang3 /CN" userId="6d45d956-d2a8-45bc-8431-7b59b21eb9ee" providerId="ADAL" clId="{4E3FBBD7-0A9D-4AAA-BD73-32EE2569F5C2}" dt="2021-12-02T12:56:22.842" v="285"/>
      <pc:docMkLst>
        <pc:docMk/>
      </pc:docMkLst>
      <pc:sldChg chg="addSp delSp modSp mod">
        <pc:chgData name="Zhao, Fang3 /CN" userId="6d45d956-d2a8-45bc-8431-7b59b21eb9ee" providerId="ADAL" clId="{4E3FBBD7-0A9D-4AAA-BD73-32EE2569F5C2}" dt="2021-12-02T12:56:22.842" v="285"/>
        <pc:sldMkLst>
          <pc:docMk/>
          <pc:sldMk cId="755259115" sldId="2113690379"/>
        </pc:sldMkLst>
        <pc:spChg chg="add mod">
          <ac:chgData name="Zhao, Fang3 /CN" userId="6d45d956-d2a8-45bc-8431-7b59b21eb9ee" providerId="ADAL" clId="{4E3FBBD7-0A9D-4AAA-BD73-32EE2569F5C2}" dt="2021-12-02T12:55:30.302" v="149" actId="1076"/>
          <ac:spMkLst>
            <pc:docMk/>
            <pc:sldMk cId="755259115" sldId="2113690379"/>
            <ac:spMk id="3" creationId="{C769B81E-5A4A-402C-904C-2C0246892D3D}"/>
          </ac:spMkLst>
        </pc:spChg>
        <pc:spChg chg="mod">
          <ac:chgData name="Zhao, Fang3 /CN" userId="6d45d956-d2a8-45bc-8431-7b59b21eb9ee" providerId="ADAL" clId="{4E3FBBD7-0A9D-4AAA-BD73-32EE2569F5C2}" dt="2021-12-02T12:56:22.842" v="285"/>
          <ac:spMkLst>
            <pc:docMk/>
            <pc:sldMk cId="755259115" sldId="2113690379"/>
            <ac:spMk id="5" creationId="{6B60E552-4436-45FA-81E1-5D8879467EDF}"/>
          </ac:spMkLst>
        </pc:spChg>
        <pc:spChg chg="add del mod">
          <ac:chgData name="Zhao, Fang3 /CN" userId="6d45d956-d2a8-45bc-8431-7b59b21eb9ee" providerId="ADAL" clId="{4E3FBBD7-0A9D-4AAA-BD73-32EE2569F5C2}" dt="2021-12-02T12:55:22.417" v="144"/>
          <ac:spMkLst>
            <pc:docMk/>
            <pc:sldMk cId="755259115" sldId="2113690379"/>
            <ac:spMk id="7" creationId="{95B17B4D-4BA7-49D6-BA36-F772D90BE664}"/>
          </ac:spMkLst>
        </pc:spChg>
      </pc:sldChg>
    </pc:docChg>
  </pc:docChgLst>
  <pc:docChgLst>
    <pc:chgData name="Zhao, Fang3 /CN" userId="6d45d956-d2a8-45bc-8431-7b59b21eb9ee" providerId="ADAL" clId="{8F2FE675-1935-4C3A-AFC9-0ACAE3268BED}"/>
    <pc:docChg chg="undo custSel addSld delSld modSld sldOrd modSection">
      <pc:chgData name="Zhao, Fang3 /CN" userId="6d45d956-d2a8-45bc-8431-7b59b21eb9ee" providerId="ADAL" clId="{8F2FE675-1935-4C3A-AFC9-0ACAE3268BED}" dt="2021-12-06T03:34:48.454" v="3390"/>
      <pc:docMkLst>
        <pc:docMk/>
      </pc:docMkLst>
      <pc:sldChg chg="modSp mod">
        <pc:chgData name="Zhao, Fang3 /CN" userId="6d45d956-d2a8-45bc-8431-7b59b21eb9ee" providerId="ADAL" clId="{8F2FE675-1935-4C3A-AFC9-0ACAE3268BED}" dt="2021-12-05T12:04:56.997" v="3285" actId="14734"/>
        <pc:sldMkLst>
          <pc:docMk/>
          <pc:sldMk cId="1339817880" sldId="6249"/>
        </pc:sldMkLst>
        <pc:graphicFrameChg chg="modGraphic">
          <ac:chgData name="Zhao, Fang3 /CN" userId="6d45d956-d2a8-45bc-8431-7b59b21eb9ee" providerId="ADAL" clId="{8F2FE675-1935-4C3A-AFC9-0ACAE3268BED}" dt="2021-12-05T12:04:56.997" v="3285" actId="14734"/>
          <ac:graphicFrameMkLst>
            <pc:docMk/>
            <pc:sldMk cId="1339817880" sldId="6249"/>
            <ac:graphicFrameMk id="7" creationId="{952630CA-7251-4DD4-AD45-B867B862F39E}"/>
          </ac:graphicFrameMkLst>
        </pc:graphicFrameChg>
      </pc:sldChg>
      <pc:sldChg chg="addSp delSp modSp mod">
        <pc:chgData name="Zhao, Fang3 /CN" userId="6d45d956-d2a8-45bc-8431-7b59b21eb9ee" providerId="ADAL" clId="{8F2FE675-1935-4C3A-AFC9-0ACAE3268BED}" dt="2021-12-05T09:55:49.636" v="2613" actId="13926"/>
        <pc:sldMkLst>
          <pc:docMk/>
          <pc:sldMk cId="1554019759" sldId="6251"/>
        </pc:sldMkLst>
        <pc:spChg chg="add del mod">
          <ac:chgData name="Zhao, Fang3 /CN" userId="6d45d956-d2a8-45bc-8431-7b59b21eb9ee" providerId="ADAL" clId="{8F2FE675-1935-4C3A-AFC9-0ACAE3268BED}" dt="2021-12-05T09:55:39.940" v="2611" actId="21"/>
          <ac:spMkLst>
            <pc:docMk/>
            <pc:sldMk cId="1554019759" sldId="6251"/>
            <ac:spMk id="9" creationId="{4D6EBDFA-DCA2-4389-B4F7-FEDBC3D4F48A}"/>
          </ac:spMkLst>
        </pc:spChg>
        <pc:spChg chg="add mod">
          <ac:chgData name="Zhao, Fang3 /CN" userId="6d45d956-d2a8-45bc-8431-7b59b21eb9ee" providerId="ADAL" clId="{8F2FE675-1935-4C3A-AFC9-0ACAE3268BED}" dt="2021-12-05T09:55:49.636" v="2613" actId="13926"/>
          <ac:spMkLst>
            <pc:docMk/>
            <pc:sldMk cId="1554019759" sldId="6251"/>
            <ac:spMk id="10" creationId="{0D1B7E21-D8D4-414E-BDA1-8E5EEA495076}"/>
          </ac:spMkLst>
        </pc:spChg>
        <pc:graphicFrameChg chg="modGraphic">
          <ac:chgData name="Zhao, Fang3 /CN" userId="6d45d956-d2a8-45bc-8431-7b59b21eb9ee" providerId="ADAL" clId="{8F2FE675-1935-4C3A-AFC9-0ACAE3268BED}" dt="2021-12-05T09:55:02.861" v="2558" actId="20577"/>
          <ac:graphicFrameMkLst>
            <pc:docMk/>
            <pc:sldMk cId="1554019759" sldId="6251"/>
            <ac:graphicFrameMk id="6" creationId="{69C5D58C-ABED-4372-BA6E-928F446E44E5}"/>
          </ac:graphicFrameMkLst>
        </pc:graphicFrameChg>
      </pc:sldChg>
      <pc:sldChg chg="addSp delSp modSp mod addCm">
        <pc:chgData name="Zhao, Fang3 /CN" userId="6d45d956-d2a8-45bc-8431-7b59b21eb9ee" providerId="ADAL" clId="{8F2FE675-1935-4C3A-AFC9-0ACAE3268BED}" dt="2021-12-05T12:00:14.410" v="3280" actId="14100"/>
        <pc:sldMkLst>
          <pc:docMk/>
          <pc:sldMk cId="647020187" sldId="2113690378"/>
        </pc:sldMkLst>
        <pc:spChg chg="add del mod">
          <ac:chgData name="Zhao, Fang3 /CN" userId="6d45d956-d2a8-45bc-8431-7b59b21eb9ee" providerId="ADAL" clId="{8F2FE675-1935-4C3A-AFC9-0ACAE3268BED}" dt="2021-12-05T09:35:30.493" v="887"/>
          <ac:spMkLst>
            <pc:docMk/>
            <pc:sldMk cId="647020187" sldId="2113690378"/>
            <ac:spMk id="2" creationId="{A56E83AB-3563-412E-8732-E94584F6D41E}"/>
          </ac:spMkLst>
        </pc:spChg>
        <pc:spChg chg="add mod">
          <ac:chgData name="Zhao, Fang3 /CN" userId="6d45d956-d2a8-45bc-8431-7b59b21eb9ee" providerId="ADAL" clId="{8F2FE675-1935-4C3A-AFC9-0ACAE3268BED}" dt="2021-12-05T11:59:36.906" v="3277" actId="20577"/>
          <ac:spMkLst>
            <pc:docMk/>
            <pc:sldMk cId="647020187" sldId="2113690378"/>
            <ac:spMk id="3" creationId="{EA2F0060-2B5D-424D-8E02-A203B8A5325C}"/>
          </ac:spMkLst>
        </pc:spChg>
        <pc:spChg chg="mod">
          <ac:chgData name="Zhao, Fang3 /CN" userId="6d45d956-d2a8-45bc-8431-7b59b21eb9ee" providerId="ADAL" clId="{8F2FE675-1935-4C3A-AFC9-0ACAE3268BED}" dt="2021-12-05T09:40:38.714" v="1263" actId="1076"/>
          <ac:spMkLst>
            <pc:docMk/>
            <pc:sldMk cId="647020187" sldId="2113690378"/>
            <ac:spMk id="6" creationId="{CA7C07B0-E152-4F42-B641-35CAC2BB1704}"/>
          </ac:spMkLst>
        </pc:spChg>
        <pc:spChg chg="add mod">
          <ac:chgData name="Zhao, Fang3 /CN" userId="6d45d956-d2a8-45bc-8431-7b59b21eb9ee" providerId="ADAL" clId="{8F2FE675-1935-4C3A-AFC9-0ACAE3268BED}" dt="2021-12-05T12:00:14.410" v="3280" actId="14100"/>
          <ac:spMkLst>
            <pc:docMk/>
            <pc:sldMk cId="647020187" sldId="2113690378"/>
            <ac:spMk id="7" creationId="{8936DAC5-439D-4A67-93E7-0C590F6C618F}"/>
          </ac:spMkLst>
        </pc:spChg>
        <pc:spChg chg="add mod">
          <ac:chgData name="Zhao, Fang3 /CN" userId="6d45d956-d2a8-45bc-8431-7b59b21eb9ee" providerId="ADAL" clId="{8F2FE675-1935-4C3A-AFC9-0ACAE3268BED}" dt="2021-12-05T09:53:51.101" v="2555"/>
          <ac:spMkLst>
            <pc:docMk/>
            <pc:sldMk cId="647020187" sldId="2113690378"/>
            <ac:spMk id="8" creationId="{05650EF8-193F-45C1-8697-3F08EEF51DD3}"/>
          </ac:spMkLst>
        </pc:spChg>
        <pc:graphicFrameChg chg="mod modGraphic">
          <ac:chgData name="Zhao, Fang3 /CN" userId="6d45d956-d2a8-45bc-8431-7b59b21eb9ee" providerId="ADAL" clId="{8F2FE675-1935-4C3A-AFC9-0ACAE3268BED}" dt="2021-12-05T09:48:11.111" v="2005" actId="13926"/>
          <ac:graphicFrameMkLst>
            <pc:docMk/>
            <pc:sldMk cId="647020187" sldId="2113690378"/>
            <ac:graphicFrameMk id="4" creationId="{FEF2C631-BA10-4F57-973F-69304EAF56EE}"/>
          </ac:graphicFrameMkLst>
        </pc:graphicFrameChg>
      </pc:sldChg>
      <pc:sldChg chg="addSp delSp modSp mod addCm delCm">
        <pc:chgData name="Zhao, Fang3 /CN" userId="6d45d956-d2a8-45bc-8431-7b59b21eb9ee" providerId="ADAL" clId="{8F2FE675-1935-4C3A-AFC9-0ACAE3268BED}" dt="2021-12-06T03:30:58.399" v="3292" actId="20577"/>
        <pc:sldMkLst>
          <pc:docMk/>
          <pc:sldMk cId="755259115" sldId="2113690379"/>
        </pc:sldMkLst>
        <pc:spChg chg="mod">
          <ac:chgData name="Zhao, Fang3 /CN" userId="6d45d956-d2a8-45bc-8431-7b59b21eb9ee" providerId="ADAL" clId="{8F2FE675-1935-4C3A-AFC9-0ACAE3268BED}" dt="2021-12-05T09:38:10.359" v="924" actId="208"/>
          <ac:spMkLst>
            <pc:docMk/>
            <pc:sldMk cId="755259115" sldId="2113690379"/>
            <ac:spMk id="3" creationId="{C769B81E-5A4A-402C-904C-2C0246892D3D}"/>
          </ac:spMkLst>
        </pc:spChg>
        <pc:spChg chg="add del mod">
          <ac:chgData name="Zhao, Fang3 /CN" userId="6d45d956-d2a8-45bc-8431-7b59b21eb9ee" providerId="ADAL" clId="{8F2FE675-1935-4C3A-AFC9-0ACAE3268BED}" dt="2021-12-05T09:31:55.752" v="602" actId="478"/>
          <ac:spMkLst>
            <pc:docMk/>
            <pc:sldMk cId="755259115" sldId="2113690379"/>
            <ac:spMk id="4" creationId="{825A396B-554D-444F-9CCF-095F5F3130F7}"/>
          </ac:spMkLst>
        </pc:spChg>
        <pc:spChg chg="mod">
          <ac:chgData name="Zhao, Fang3 /CN" userId="6d45d956-d2a8-45bc-8431-7b59b21eb9ee" providerId="ADAL" clId="{8F2FE675-1935-4C3A-AFC9-0ACAE3268BED}" dt="2021-12-05T11:47:53.693" v="3274" actId="20577"/>
          <ac:spMkLst>
            <pc:docMk/>
            <pc:sldMk cId="755259115" sldId="2113690379"/>
            <ac:spMk id="5" creationId="{6B60E552-4436-45FA-81E1-5D8879467EDF}"/>
          </ac:spMkLst>
        </pc:spChg>
        <pc:spChg chg="add mod">
          <ac:chgData name="Zhao, Fang3 /CN" userId="6d45d956-d2a8-45bc-8431-7b59b21eb9ee" providerId="ADAL" clId="{8F2FE675-1935-4C3A-AFC9-0ACAE3268BED}" dt="2021-12-06T03:30:58.399" v="3292" actId="20577"/>
          <ac:spMkLst>
            <pc:docMk/>
            <pc:sldMk cId="755259115" sldId="2113690379"/>
            <ac:spMk id="7" creationId="{8936DAC5-439D-4A67-93E7-0C590F6C618F}"/>
          </ac:spMkLst>
        </pc:spChg>
      </pc:sldChg>
      <pc:sldChg chg="new add del">
        <pc:chgData name="Zhao, Fang3 /CN" userId="6d45d956-d2a8-45bc-8431-7b59b21eb9ee" providerId="ADAL" clId="{8F2FE675-1935-4C3A-AFC9-0ACAE3268BED}" dt="2021-12-05T09:22:39.945" v="2" actId="2696"/>
        <pc:sldMkLst>
          <pc:docMk/>
          <pc:sldMk cId="30721865" sldId="2113690380"/>
        </pc:sldMkLst>
      </pc:sldChg>
      <pc:sldChg chg="addSp delSp modSp new add mod ord">
        <pc:chgData name="Zhao, Fang3 /CN" userId="6d45d956-d2a8-45bc-8431-7b59b21eb9ee" providerId="ADAL" clId="{8F2FE675-1935-4C3A-AFC9-0ACAE3268BED}" dt="2021-12-06T03:34:48.454" v="3390"/>
        <pc:sldMkLst>
          <pc:docMk/>
          <pc:sldMk cId="1936725130" sldId="2113690380"/>
        </pc:sldMkLst>
        <pc:spChg chg="mod">
          <ac:chgData name="Zhao, Fang3 /CN" userId="6d45d956-d2a8-45bc-8431-7b59b21eb9ee" providerId="ADAL" clId="{8F2FE675-1935-4C3A-AFC9-0ACAE3268BED}" dt="2021-12-06T03:34:48.444" v="3388" actId="948"/>
          <ac:spMkLst>
            <pc:docMk/>
            <pc:sldMk cId="1936725130" sldId="2113690380"/>
            <ac:spMk id="2" creationId="{AABE8A90-9BC2-488D-BE68-30DB20126DF7}"/>
          </ac:spMkLst>
        </pc:spChg>
        <pc:spChg chg="del">
          <ac:chgData name="Zhao, Fang3 /CN" userId="6d45d956-d2a8-45bc-8431-7b59b21eb9ee" providerId="ADAL" clId="{8F2FE675-1935-4C3A-AFC9-0ACAE3268BED}" dt="2021-12-05T09:22:49.243" v="7"/>
          <ac:spMkLst>
            <pc:docMk/>
            <pc:sldMk cId="1936725130" sldId="2113690380"/>
            <ac:spMk id="3" creationId="{0B309C61-0581-42A8-914D-66D3EFB7A1D9}"/>
          </ac:spMkLst>
        </pc:spChg>
        <pc:spChg chg="add mod">
          <ac:chgData name="Zhao, Fang3 /CN" userId="6d45d956-d2a8-45bc-8431-7b59b21eb9ee" providerId="ADAL" clId="{8F2FE675-1935-4C3A-AFC9-0ACAE3268BED}" dt="2021-12-06T03:34:20.175" v="3351"/>
          <ac:spMkLst>
            <pc:docMk/>
            <pc:sldMk cId="1936725130" sldId="2113690380"/>
            <ac:spMk id="4" creationId="{7926E6AC-39FB-4AEF-A1C6-BCB6663800FF}"/>
          </ac:spMkLst>
        </pc:spChg>
        <pc:spChg chg="add mod">
          <ac:chgData name="Zhao, Fang3 /CN" userId="6d45d956-d2a8-45bc-8431-7b59b21eb9ee" providerId="ADAL" clId="{8F2FE675-1935-4C3A-AFC9-0ACAE3268BED}" dt="2021-12-06T03:33:55.258" v="3345" actId="207"/>
          <ac:spMkLst>
            <pc:docMk/>
            <pc:sldMk cId="1936725130" sldId="2113690380"/>
            <ac:spMk id="6" creationId="{F24AC056-D4AF-40F0-B480-1E5A376623C8}"/>
          </ac:spMkLst>
        </pc:spChg>
        <pc:graphicFrameChg chg="add mod ord modVis">
          <ac:chgData name="Zhao, Fang3 /CN" userId="6d45d956-d2a8-45bc-8431-7b59b21eb9ee" providerId="ADAL" clId="{8F2FE675-1935-4C3A-AFC9-0ACAE3268BED}" dt="2021-12-06T03:34:48.454" v="3390"/>
          <ac:graphicFrameMkLst>
            <pc:docMk/>
            <pc:sldMk cId="1936725130" sldId="2113690380"/>
            <ac:graphicFrameMk id="7" creationId="{3303E8E4-53C0-4045-BD75-8B00484543DD}"/>
          </ac:graphicFrameMkLst>
        </pc:graphicFrameChg>
      </pc:sldChg>
    </pc:docChg>
  </pc:docChgLst>
  <pc:docChgLst>
    <pc:chgData name="Zhao, Fang3 /CN" userId="6d45d956-d2a8-45bc-8431-7b59b21eb9ee" providerId="ADAL" clId="{5E4DEEAF-4450-4CFA-841A-7663EA67E0CA}"/>
    <pc:docChg chg="custSel addSld modSld modSection">
      <pc:chgData name="Zhao, Fang3 /CN" userId="6d45d956-d2a8-45bc-8431-7b59b21eb9ee" providerId="ADAL" clId="{5E4DEEAF-4450-4CFA-841A-7663EA67E0CA}" dt="2021-12-01T13:06:57.320" v="381" actId="1582"/>
      <pc:docMkLst>
        <pc:docMk/>
      </pc:docMkLst>
      <pc:sldChg chg="modSp mod">
        <pc:chgData name="Zhao, Fang3 /CN" userId="6d45d956-d2a8-45bc-8431-7b59b21eb9ee" providerId="ADAL" clId="{5E4DEEAF-4450-4CFA-841A-7663EA67E0CA}" dt="2021-12-01T13:01:35.183" v="149" actId="115"/>
        <pc:sldMkLst>
          <pc:docMk/>
          <pc:sldMk cId="1136407195" sldId="6250"/>
        </pc:sldMkLst>
        <pc:graphicFrameChg chg="modGraphic">
          <ac:chgData name="Zhao, Fang3 /CN" userId="6d45d956-d2a8-45bc-8431-7b59b21eb9ee" providerId="ADAL" clId="{5E4DEEAF-4450-4CFA-841A-7663EA67E0CA}" dt="2021-12-01T13:01:35.183" v="149" actId="115"/>
          <ac:graphicFrameMkLst>
            <pc:docMk/>
            <pc:sldMk cId="1136407195" sldId="6250"/>
            <ac:graphicFrameMk id="6" creationId="{297B7288-5CD5-41D0-BAA3-0AD9E4AE3120}"/>
          </ac:graphicFrameMkLst>
        </pc:graphicFrameChg>
      </pc:sldChg>
      <pc:sldChg chg="addSp delSp modSp new add mod">
        <pc:chgData name="Zhao, Fang3 /CN" userId="6d45d956-d2a8-45bc-8431-7b59b21eb9ee" providerId="ADAL" clId="{5E4DEEAF-4450-4CFA-841A-7663EA67E0CA}" dt="2021-12-01T13:06:57.320" v="381" actId="1582"/>
        <pc:sldMkLst>
          <pc:docMk/>
          <pc:sldMk cId="755259115" sldId="2113690379"/>
        </pc:sldMkLst>
        <pc:spChg chg="mod">
          <ac:chgData name="Zhao, Fang3 /CN" userId="6d45d956-d2a8-45bc-8431-7b59b21eb9ee" providerId="ADAL" clId="{5E4DEEAF-4450-4CFA-841A-7663EA67E0CA}" dt="2021-12-01T13:06:26.408" v="378" actId="948"/>
          <ac:spMkLst>
            <pc:docMk/>
            <pc:sldMk cId="755259115" sldId="2113690379"/>
            <ac:spMk id="2" creationId="{3109585F-751A-4C6B-BC3B-7BC736CA5573}"/>
          </ac:spMkLst>
        </pc:spChg>
        <pc:spChg chg="del mod">
          <ac:chgData name="Zhao, Fang3 /CN" userId="6d45d956-d2a8-45bc-8431-7b59b21eb9ee" providerId="ADAL" clId="{5E4DEEAF-4450-4CFA-841A-7663EA67E0CA}" dt="2021-12-01T13:04:16.406" v="222" actId="478"/>
          <ac:spMkLst>
            <pc:docMk/>
            <pc:sldMk cId="755259115" sldId="2113690379"/>
            <ac:spMk id="3" creationId="{79408823-5213-4C35-AEF9-7B09A50CAB49}"/>
          </ac:spMkLst>
        </pc:spChg>
        <pc:spChg chg="add mod">
          <ac:chgData name="Zhao, Fang3 /CN" userId="6d45d956-d2a8-45bc-8431-7b59b21eb9ee" providerId="ADAL" clId="{5E4DEEAF-4450-4CFA-841A-7663EA67E0CA}" dt="2021-12-01T13:06:57.320" v="381" actId="1582"/>
          <ac:spMkLst>
            <pc:docMk/>
            <pc:sldMk cId="755259115" sldId="2113690379"/>
            <ac:spMk id="5" creationId="{6B60E552-4436-45FA-81E1-5D8879467EDF}"/>
          </ac:spMkLst>
        </pc:spChg>
        <pc:graphicFrameChg chg="add mod ord modVis">
          <ac:chgData name="Zhao, Fang3 /CN" userId="6d45d956-d2a8-45bc-8431-7b59b21eb9ee" providerId="ADAL" clId="{5E4DEEAF-4450-4CFA-841A-7663EA67E0CA}" dt="2021-12-01T13:06:26.431" v="380"/>
          <ac:graphicFrameMkLst>
            <pc:docMk/>
            <pc:sldMk cId="755259115" sldId="2113690379"/>
            <ac:graphicFrameMk id="6" creationId="{D4CC73CF-5544-4310-B208-FBAB608273D1}"/>
          </ac:graphicFrameMkLst>
        </pc:graphicFrameChg>
        <pc:graphicFrameChg chg="add del mod">
          <ac:chgData name="Zhao, Fang3 /CN" userId="6d45d956-d2a8-45bc-8431-7b59b21eb9ee" providerId="ADAL" clId="{5E4DEEAF-4450-4CFA-841A-7663EA67E0CA}" dt="2021-12-01T13:04:34.980" v="228" actId="478"/>
          <ac:graphicFrameMkLst>
            <pc:docMk/>
            <pc:sldMk cId="755259115" sldId="2113690379"/>
            <ac:graphicFrameMk id="7" creationId="{28F008CD-FDEE-4F7A-A683-E77201FEF98A}"/>
          </ac:graphicFrameMkLst>
        </pc:graphicFrameChg>
      </pc:sldChg>
    </pc:docChg>
  </pc:docChgLst>
  <pc:docChgLst>
    <pc:chgData name="Zhao, Fang3 /CN" userId="6d45d956-d2a8-45bc-8431-7b59b21eb9ee" providerId="ADAL" clId="{F1CE63E3-8B04-4D88-8DD6-60B3B6C911A0}"/>
    <pc:docChg chg="custSel modSld">
      <pc:chgData name="Zhao, Fang3 /CN" userId="6d45d956-d2a8-45bc-8431-7b59b21eb9ee" providerId="ADAL" clId="{F1CE63E3-8B04-4D88-8DD6-60B3B6C911A0}" dt="2021-11-30T09:47:39.851" v="60" actId="13926"/>
      <pc:docMkLst>
        <pc:docMk/>
      </pc:docMkLst>
      <pc:sldChg chg="modSp mod">
        <pc:chgData name="Zhao, Fang3 /CN" userId="6d45d956-d2a8-45bc-8431-7b59b21eb9ee" providerId="ADAL" clId="{F1CE63E3-8B04-4D88-8DD6-60B3B6C911A0}" dt="2021-11-30T09:47:27.846" v="57" actId="13926"/>
        <pc:sldMkLst>
          <pc:docMk/>
          <pc:sldMk cId="1339817880" sldId="6249"/>
        </pc:sldMkLst>
        <pc:graphicFrameChg chg="modGraphic">
          <ac:chgData name="Zhao, Fang3 /CN" userId="6d45d956-d2a8-45bc-8431-7b59b21eb9ee" providerId="ADAL" clId="{F1CE63E3-8B04-4D88-8DD6-60B3B6C911A0}" dt="2021-11-30T09:47:27.846" v="57" actId="13926"/>
          <ac:graphicFrameMkLst>
            <pc:docMk/>
            <pc:sldMk cId="1339817880" sldId="6249"/>
            <ac:graphicFrameMk id="7" creationId="{952630CA-7251-4DD4-AD45-B867B862F39E}"/>
          </ac:graphicFrameMkLst>
        </pc:graphicFrameChg>
      </pc:sldChg>
      <pc:sldChg chg="delSp modSp mod">
        <pc:chgData name="Zhao, Fang3 /CN" userId="6d45d956-d2a8-45bc-8431-7b59b21eb9ee" providerId="ADAL" clId="{F1CE63E3-8B04-4D88-8DD6-60B3B6C911A0}" dt="2021-11-30T09:47:35.162" v="59" actId="13926"/>
        <pc:sldMkLst>
          <pc:docMk/>
          <pc:sldMk cId="1136407195" sldId="6250"/>
        </pc:sldMkLst>
        <pc:spChg chg="del mod">
          <ac:chgData name="Zhao, Fang3 /CN" userId="6d45d956-d2a8-45bc-8431-7b59b21eb9ee" providerId="ADAL" clId="{F1CE63E3-8B04-4D88-8DD6-60B3B6C911A0}" dt="2021-11-30T08:54:19.986" v="1" actId="478"/>
          <ac:spMkLst>
            <pc:docMk/>
            <pc:sldMk cId="1136407195" sldId="6250"/>
            <ac:spMk id="3" creationId="{B1E9E4A3-5B43-41AC-BA9E-F5C28AB3EC4A}"/>
          </ac:spMkLst>
        </pc:spChg>
        <pc:graphicFrameChg chg="mod modGraphic">
          <ac:chgData name="Zhao, Fang3 /CN" userId="6d45d956-d2a8-45bc-8431-7b59b21eb9ee" providerId="ADAL" clId="{F1CE63E3-8B04-4D88-8DD6-60B3B6C911A0}" dt="2021-11-30T09:47:35.162" v="59" actId="13926"/>
          <ac:graphicFrameMkLst>
            <pc:docMk/>
            <pc:sldMk cId="1136407195" sldId="6250"/>
            <ac:graphicFrameMk id="6" creationId="{297B7288-5CD5-41D0-BAA3-0AD9E4AE3120}"/>
          </ac:graphicFrameMkLst>
        </pc:graphicFrameChg>
      </pc:sldChg>
      <pc:sldChg chg="modSp mod">
        <pc:chgData name="Zhao, Fang3 /CN" userId="6d45d956-d2a8-45bc-8431-7b59b21eb9ee" providerId="ADAL" clId="{F1CE63E3-8B04-4D88-8DD6-60B3B6C911A0}" dt="2021-11-30T09:47:39.851" v="60" actId="13926"/>
        <pc:sldMkLst>
          <pc:docMk/>
          <pc:sldMk cId="647020187" sldId="2113690378"/>
        </pc:sldMkLst>
        <pc:graphicFrameChg chg="modGraphic">
          <ac:chgData name="Zhao, Fang3 /CN" userId="6d45d956-d2a8-45bc-8431-7b59b21eb9ee" providerId="ADAL" clId="{F1CE63E3-8B04-4D88-8DD6-60B3B6C911A0}" dt="2021-11-30T09:47:39.851" v="60" actId="13926"/>
          <ac:graphicFrameMkLst>
            <pc:docMk/>
            <pc:sldMk cId="647020187" sldId="2113690378"/>
            <ac:graphicFrameMk id="4" creationId="{FEF2C631-BA10-4F57-973F-69304EAF56EE}"/>
          </ac:graphicFrameMkLst>
        </pc:graphicFrameChg>
      </pc:sldChg>
    </pc:docChg>
  </pc:docChgLst>
  <pc:docChgLst>
    <pc:chgData name="Zhao, Fang3 /CN" userId="6d45d956-d2a8-45bc-8431-7b59b21eb9ee" providerId="ADAL" clId="{EB2311BE-0487-4C6C-85CD-6542A8F0C5B6}"/>
    <pc:docChg chg="modSld">
      <pc:chgData name="Zhao, Fang3 /CN" userId="6d45d956-d2a8-45bc-8431-7b59b21eb9ee" providerId="ADAL" clId="{EB2311BE-0487-4C6C-85CD-6542A8F0C5B6}" dt="2021-12-01T13:20:22.176" v="2" actId="115"/>
      <pc:docMkLst>
        <pc:docMk/>
      </pc:docMkLst>
      <pc:sldChg chg="modSp mod">
        <pc:chgData name="Zhao, Fang3 /CN" userId="6d45d956-d2a8-45bc-8431-7b59b21eb9ee" providerId="ADAL" clId="{EB2311BE-0487-4C6C-85CD-6542A8F0C5B6}" dt="2021-12-01T13:20:22.176" v="2" actId="115"/>
        <pc:sldMkLst>
          <pc:docMk/>
          <pc:sldMk cId="1136407195" sldId="6250"/>
        </pc:sldMkLst>
        <pc:graphicFrameChg chg="modGraphic">
          <ac:chgData name="Zhao, Fang3 /CN" userId="6d45d956-d2a8-45bc-8431-7b59b21eb9ee" providerId="ADAL" clId="{EB2311BE-0487-4C6C-85CD-6542A8F0C5B6}" dt="2021-12-01T13:20:22.176" v="2" actId="115"/>
          <ac:graphicFrameMkLst>
            <pc:docMk/>
            <pc:sldMk cId="1136407195" sldId="6250"/>
            <ac:graphicFrameMk id="6" creationId="{297B7288-5CD5-41D0-BAA3-0AD9E4AE3120}"/>
          </ac:graphicFrameMkLst>
        </pc:graphicFrameChg>
      </pc:sldChg>
    </pc:docChg>
  </pc:docChgLst>
  <pc:docChgLst>
    <pc:chgData name="Zhao, Fang3 /CN" userId="6d45d956-d2a8-45bc-8431-7b59b21eb9ee" providerId="ADAL" clId="{AC052CAC-E7BD-4821-A3FE-0804A56D2E40}"/>
    <pc:docChg chg="modSld">
      <pc:chgData name="Zhao, Fang3 /CN" userId="6d45d956-d2a8-45bc-8431-7b59b21eb9ee" providerId="ADAL" clId="{AC052CAC-E7BD-4821-A3FE-0804A56D2E40}" dt="2022-10-27T02:52:27.292" v="86" actId="13926"/>
      <pc:docMkLst>
        <pc:docMk/>
      </pc:docMkLst>
      <pc:sldChg chg="modSp mod">
        <pc:chgData name="Zhao, Fang3 /CN" userId="6d45d956-d2a8-45bc-8431-7b59b21eb9ee" providerId="ADAL" clId="{AC052CAC-E7BD-4821-A3FE-0804A56D2E40}" dt="2022-10-25T10:25:50.656" v="1" actId="13926"/>
        <pc:sldMkLst>
          <pc:docMk/>
          <pc:sldMk cId="0" sldId="274"/>
        </pc:sldMkLst>
        <pc:spChg chg="mod">
          <ac:chgData name="Zhao, Fang3 /CN" userId="6d45d956-d2a8-45bc-8431-7b59b21eb9ee" providerId="ADAL" clId="{AC052CAC-E7BD-4821-A3FE-0804A56D2E40}" dt="2022-10-25T10:25:50.656" v="1" actId="13926"/>
          <ac:spMkLst>
            <pc:docMk/>
            <pc:sldMk cId="0" sldId="274"/>
            <ac:spMk id="39" creationId="{2F87807E-D8A3-441A-9468-7B334DC05A62}"/>
          </ac:spMkLst>
        </pc:spChg>
      </pc:sldChg>
      <pc:sldChg chg="modSp mod">
        <pc:chgData name="Zhao, Fang3 /CN" userId="6d45d956-d2a8-45bc-8431-7b59b21eb9ee" providerId="ADAL" clId="{AC052CAC-E7BD-4821-A3FE-0804A56D2E40}" dt="2022-10-25T10:25:44.058" v="0" actId="13926"/>
        <pc:sldMkLst>
          <pc:docMk/>
          <pc:sldMk cId="4197098525" sldId="6248"/>
        </pc:sldMkLst>
        <pc:spChg chg="mod">
          <ac:chgData name="Zhao, Fang3 /CN" userId="6d45d956-d2a8-45bc-8431-7b59b21eb9ee" providerId="ADAL" clId="{AC052CAC-E7BD-4821-A3FE-0804A56D2E40}" dt="2022-10-25T10:25:44.058" v="0" actId="13926"/>
          <ac:spMkLst>
            <pc:docMk/>
            <pc:sldMk cId="4197098525" sldId="6248"/>
            <ac:spMk id="35" creationId="{B27DE021-F1D0-4B4B-8EA2-18EFDFCD182A}"/>
          </ac:spMkLst>
        </pc:spChg>
      </pc:sldChg>
      <pc:sldChg chg="modSp mod">
        <pc:chgData name="Zhao, Fang3 /CN" userId="6d45d956-d2a8-45bc-8431-7b59b21eb9ee" providerId="ADAL" clId="{AC052CAC-E7BD-4821-A3FE-0804A56D2E40}" dt="2022-10-27T02:50:08.720" v="85" actId="13926"/>
        <pc:sldMkLst>
          <pc:docMk/>
          <pc:sldMk cId="1136407195" sldId="6250"/>
        </pc:sldMkLst>
        <pc:spChg chg="mod">
          <ac:chgData name="Zhao, Fang3 /CN" userId="6d45d956-d2a8-45bc-8431-7b59b21eb9ee" providerId="ADAL" clId="{AC052CAC-E7BD-4821-A3FE-0804A56D2E40}" dt="2022-10-25T10:26:01.013" v="2" actId="13926"/>
          <ac:spMkLst>
            <pc:docMk/>
            <pc:sldMk cId="1136407195" sldId="6250"/>
            <ac:spMk id="7" creationId="{022DE1AA-C052-4F58-9CBA-F1B5EBF3EA09}"/>
          </ac:spMkLst>
        </pc:spChg>
        <pc:graphicFrameChg chg="modGraphic">
          <ac:chgData name="Zhao, Fang3 /CN" userId="6d45d956-d2a8-45bc-8431-7b59b21eb9ee" providerId="ADAL" clId="{AC052CAC-E7BD-4821-A3FE-0804A56D2E40}" dt="2022-10-27T02:50:08.720" v="85" actId="13926"/>
          <ac:graphicFrameMkLst>
            <pc:docMk/>
            <pc:sldMk cId="1136407195" sldId="6250"/>
            <ac:graphicFrameMk id="6" creationId="{297B7288-5CD5-41D0-BAA3-0AD9E4AE3120}"/>
          </ac:graphicFrameMkLst>
        </pc:graphicFrameChg>
      </pc:sldChg>
      <pc:sldChg chg="modSp mod">
        <pc:chgData name="Zhao, Fang3 /CN" userId="6d45d956-d2a8-45bc-8431-7b59b21eb9ee" providerId="ADAL" clId="{AC052CAC-E7BD-4821-A3FE-0804A56D2E40}" dt="2022-10-27T02:52:27.292" v="86" actId="13926"/>
        <pc:sldMkLst>
          <pc:docMk/>
          <pc:sldMk cId="1554019759" sldId="6251"/>
        </pc:sldMkLst>
        <pc:spChg chg="mod">
          <ac:chgData name="Zhao, Fang3 /CN" userId="6d45d956-d2a8-45bc-8431-7b59b21eb9ee" providerId="ADAL" clId="{AC052CAC-E7BD-4821-A3FE-0804A56D2E40}" dt="2022-10-25T10:26:06.845" v="3" actId="13926"/>
          <ac:spMkLst>
            <pc:docMk/>
            <pc:sldMk cId="1554019759" sldId="6251"/>
            <ac:spMk id="8" creationId="{25B9B3F2-202A-4BFE-BC8C-799F6CFBB2FA}"/>
          </ac:spMkLst>
        </pc:spChg>
        <pc:graphicFrameChg chg="modGraphic">
          <ac:chgData name="Zhao, Fang3 /CN" userId="6d45d956-d2a8-45bc-8431-7b59b21eb9ee" providerId="ADAL" clId="{AC052CAC-E7BD-4821-A3FE-0804A56D2E40}" dt="2022-10-27T02:52:27.292" v="86" actId="13926"/>
          <ac:graphicFrameMkLst>
            <pc:docMk/>
            <pc:sldMk cId="1554019759" sldId="6251"/>
            <ac:graphicFrameMk id="6" creationId="{69C5D58C-ABED-4372-BA6E-928F446E44E5}"/>
          </ac:graphicFrameMkLst>
        </pc:graphicFrameChg>
      </pc:sldChg>
      <pc:sldChg chg="modSp mod">
        <pc:chgData name="Zhao, Fang3 /CN" userId="6d45d956-d2a8-45bc-8431-7b59b21eb9ee" providerId="ADAL" clId="{AC052CAC-E7BD-4821-A3FE-0804A56D2E40}" dt="2022-10-25T10:26:23.945" v="4" actId="13926"/>
        <pc:sldMkLst>
          <pc:docMk/>
          <pc:sldMk cId="316317293" sldId="2113690350"/>
        </pc:sldMkLst>
        <pc:spChg chg="mod">
          <ac:chgData name="Zhao, Fang3 /CN" userId="6d45d956-d2a8-45bc-8431-7b59b21eb9ee" providerId="ADAL" clId="{AC052CAC-E7BD-4821-A3FE-0804A56D2E40}" dt="2022-10-25T10:26:23.945" v="4" actId="13926"/>
          <ac:spMkLst>
            <pc:docMk/>
            <pc:sldMk cId="316317293" sldId="2113690350"/>
            <ac:spMk id="7" creationId="{074221F3-DA41-4569-8413-B4AF240FA1F8}"/>
          </ac:spMkLst>
        </pc:spChg>
        <pc:spChg chg="mod">
          <ac:chgData name="Zhao, Fang3 /CN" userId="6d45d956-d2a8-45bc-8431-7b59b21eb9ee" providerId="ADAL" clId="{AC052CAC-E7BD-4821-A3FE-0804A56D2E40}" dt="2022-10-25T10:26:23.945" v="4" actId="13926"/>
          <ac:spMkLst>
            <pc:docMk/>
            <pc:sldMk cId="316317293" sldId="2113690350"/>
            <ac:spMk id="10" creationId="{11E17CFD-CDD2-4060-8F04-D0F65450ECDF}"/>
          </ac:spMkLst>
        </pc:spChg>
        <pc:spChg chg="mod">
          <ac:chgData name="Zhao, Fang3 /CN" userId="6d45d956-d2a8-45bc-8431-7b59b21eb9ee" providerId="ADAL" clId="{AC052CAC-E7BD-4821-A3FE-0804A56D2E40}" dt="2022-10-25T10:26:23.945" v="4" actId="13926"/>
          <ac:spMkLst>
            <pc:docMk/>
            <pc:sldMk cId="316317293" sldId="2113690350"/>
            <ac:spMk id="15" creationId="{646F796B-7BBB-4B21-979F-9BECE5DBFF06}"/>
          </ac:spMkLst>
        </pc:spChg>
        <pc:spChg chg="mod">
          <ac:chgData name="Zhao, Fang3 /CN" userId="6d45d956-d2a8-45bc-8431-7b59b21eb9ee" providerId="ADAL" clId="{AC052CAC-E7BD-4821-A3FE-0804A56D2E40}" dt="2022-10-25T10:26:23.945" v="4" actId="13926"/>
          <ac:spMkLst>
            <pc:docMk/>
            <pc:sldMk cId="316317293" sldId="2113690350"/>
            <ac:spMk id="17" creationId="{95168AFD-8E18-4DF5-8F0B-80DDEBDED293}"/>
          </ac:spMkLst>
        </pc:spChg>
        <pc:spChg chg="mod">
          <ac:chgData name="Zhao, Fang3 /CN" userId="6d45d956-d2a8-45bc-8431-7b59b21eb9ee" providerId="ADAL" clId="{AC052CAC-E7BD-4821-A3FE-0804A56D2E40}" dt="2022-10-25T10:26:23.945" v="4" actId="13926"/>
          <ac:spMkLst>
            <pc:docMk/>
            <pc:sldMk cId="316317293" sldId="2113690350"/>
            <ac:spMk id="18" creationId="{A49C0705-AD90-47EF-A6C6-7B514FB0A0EF}"/>
          </ac:spMkLst>
        </pc:spChg>
        <pc:spChg chg="mod">
          <ac:chgData name="Zhao, Fang3 /CN" userId="6d45d956-d2a8-45bc-8431-7b59b21eb9ee" providerId="ADAL" clId="{AC052CAC-E7BD-4821-A3FE-0804A56D2E40}" dt="2022-10-25T10:26:23.945" v="4" actId="13926"/>
          <ac:spMkLst>
            <pc:docMk/>
            <pc:sldMk cId="316317293" sldId="2113690350"/>
            <ac:spMk id="20" creationId="{C2BB12FF-53E5-4BB4-9491-C3451530D1E1}"/>
          </ac:spMkLst>
        </pc:spChg>
        <pc:spChg chg="mod">
          <ac:chgData name="Zhao, Fang3 /CN" userId="6d45d956-d2a8-45bc-8431-7b59b21eb9ee" providerId="ADAL" clId="{AC052CAC-E7BD-4821-A3FE-0804A56D2E40}" dt="2022-10-25T10:26:23.945" v="4" actId="13926"/>
          <ac:spMkLst>
            <pc:docMk/>
            <pc:sldMk cId="316317293" sldId="2113690350"/>
            <ac:spMk id="27" creationId="{E45A0BB6-4996-4E90-B121-4B9ABF7CDB00}"/>
          </ac:spMkLst>
        </pc:spChg>
        <pc:spChg chg="mod">
          <ac:chgData name="Zhao, Fang3 /CN" userId="6d45d956-d2a8-45bc-8431-7b59b21eb9ee" providerId="ADAL" clId="{AC052CAC-E7BD-4821-A3FE-0804A56D2E40}" dt="2022-10-25T10:26:23.945" v="4" actId="13926"/>
          <ac:spMkLst>
            <pc:docMk/>
            <pc:sldMk cId="316317293" sldId="2113690350"/>
            <ac:spMk id="66" creationId="{F9419C44-B4EB-4F6C-99AA-2F3A40873760}"/>
          </ac:spMkLst>
        </pc:spChg>
        <pc:spChg chg="mod">
          <ac:chgData name="Zhao, Fang3 /CN" userId="6d45d956-d2a8-45bc-8431-7b59b21eb9ee" providerId="ADAL" clId="{AC052CAC-E7BD-4821-A3FE-0804A56D2E40}" dt="2022-10-25T10:26:23.945" v="4" actId="13926"/>
          <ac:spMkLst>
            <pc:docMk/>
            <pc:sldMk cId="316317293" sldId="2113690350"/>
            <ac:spMk id="68" creationId="{882CBD50-9181-4962-9EED-C64E1C6629E7}"/>
          </ac:spMkLst>
        </pc:spChg>
        <pc:spChg chg="mod">
          <ac:chgData name="Zhao, Fang3 /CN" userId="6d45d956-d2a8-45bc-8431-7b59b21eb9ee" providerId="ADAL" clId="{AC052CAC-E7BD-4821-A3FE-0804A56D2E40}" dt="2022-10-25T10:26:23.945" v="4" actId="13926"/>
          <ac:spMkLst>
            <pc:docMk/>
            <pc:sldMk cId="316317293" sldId="2113690350"/>
            <ac:spMk id="73" creationId="{6EBBEFB0-CC72-41FC-8053-C01E7EC4CCDB}"/>
          </ac:spMkLst>
        </pc:spChg>
        <pc:spChg chg="mod">
          <ac:chgData name="Zhao, Fang3 /CN" userId="6d45d956-d2a8-45bc-8431-7b59b21eb9ee" providerId="ADAL" clId="{AC052CAC-E7BD-4821-A3FE-0804A56D2E40}" dt="2022-10-25T10:26:23.945" v="4" actId="13926"/>
          <ac:spMkLst>
            <pc:docMk/>
            <pc:sldMk cId="316317293" sldId="2113690350"/>
            <ac:spMk id="75" creationId="{E2E73886-3D05-41B1-9268-B5D165CD2D14}"/>
          </ac:spMkLst>
        </pc:spChg>
        <pc:spChg chg="mod">
          <ac:chgData name="Zhao, Fang3 /CN" userId="6d45d956-d2a8-45bc-8431-7b59b21eb9ee" providerId="ADAL" clId="{AC052CAC-E7BD-4821-A3FE-0804A56D2E40}" dt="2022-10-25T10:26:23.945" v="4" actId="13926"/>
          <ac:spMkLst>
            <pc:docMk/>
            <pc:sldMk cId="316317293" sldId="2113690350"/>
            <ac:spMk id="76" creationId="{F50142F4-AE6B-43BA-8547-63FAA378BBB9}"/>
          </ac:spMkLst>
        </pc:spChg>
        <pc:spChg chg="mod">
          <ac:chgData name="Zhao, Fang3 /CN" userId="6d45d956-d2a8-45bc-8431-7b59b21eb9ee" providerId="ADAL" clId="{AC052CAC-E7BD-4821-A3FE-0804A56D2E40}" dt="2022-10-25T10:26:23.945" v="4" actId="13926"/>
          <ac:spMkLst>
            <pc:docMk/>
            <pc:sldMk cId="316317293" sldId="2113690350"/>
            <ac:spMk id="82" creationId="{E7E6F7AB-E038-42FD-BBB0-B2677F36116B}"/>
          </ac:spMkLst>
        </pc:spChg>
        <pc:spChg chg="mod">
          <ac:chgData name="Zhao, Fang3 /CN" userId="6d45d956-d2a8-45bc-8431-7b59b21eb9ee" providerId="ADAL" clId="{AC052CAC-E7BD-4821-A3FE-0804A56D2E40}" dt="2022-10-25T10:26:23.945" v="4" actId="13926"/>
          <ac:spMkLst>
            <pc:docMk/>
            <pc:sldMk cId="316317293" sldId="2113690350"/>
            <ac:spMk id="83" creationId="{6A8B648D-190B-4178-98F6-7890B8985283}"/>
          </ac:spMkLst>
        </pc:spChg>
        <pc:spChg chg="mod">
          <ac:chgData name="Zhao, Fang3 /CN" userId="6d45d956-d2a8-45bc-8431-7b59b21eb9ee" providerId="ADAL" clId="{AC052CAC-E7BD-4821-A3FE-0804A56D2E40}" dt="2022-10-25T10:26:23.945" v="4" actId="13926"/>
          <ac:spMkLst>
            <pc:docMk/>
            <pc:sldMk cId="316317293" sldId="2113690350"/>
            <ac:spMk id="84" creationId="{FD5DC6D3-1DDC-466B-9417-C3B2FDABB22C}"/>
          </ac:spMkLst>
        </pc:spChg>
        <pc:spChg chg="mod">
          <ac:chgData name="Zhao, Fang3 /CN" userId="6d45d956-d2a8-45bc-8431-7b59b21eb9ee" providerId="ADAL" clId="{AC052CAC-E7BD-4821-A3FE-0804A56D2E40}" dt="2022-10-25T10:26:23.945" v="4" actId="13926"/>
          <ac:spMkLst>
            <pc:docMk/>
            <pc:sldMk cId="316317293" sldId="2113690350"/>
            <ac:spMk id="85" creationId="{30B1E6D1-CD8B-4011-BCB5-F7CF796FD80C}"/>
          </ac:spMkLst>
        </pc:spChg>
        <pc:spChg chg="mod">
          <ac:chgData name="Zhao, Fang3 /CN" userId="6d45d956-d2a8-45bc-8431-7b59b21eb9ee" providerId="ADAL" clId="{AC052CAC-E7BD-4821-A3FE-0804A56D2E40}" dt="2022-10-25T10:26:23.945" v="4" actId="13926"/>
          <ac:spMkLst>
            <pc:docMk/>
            <pc:sldMk cId="316317293" sldId="2113690350"/>
            <ac:spMk id="88" creationId="{0794C1F9-3437-44E0-B744-36D21BA84523}"/>
          </ac:spMkLst>
        </pc:spChg>
        <pc:spChg chg="mod">
          <ac:chgData name="Zhao, Fang3 /CN" userId="6d45d956-d2a8-45bc-8431-7b59b21eb9ee" providerId="ADAL" clId="{AC052CAC-E7BD-4821-A3FE-0804A56D2E40}" dt="2022-10-25T10:26:23.945" v="4" actId="13926"/>
          <ac:spMkLst>
            <pc:docMk/>
            <pc:sldMk cId="316317293" sldId="2113690350"/>
            <ac:spMk id="89" creationId="{C772351B-6BB5-4732-B3CC-6D8EC51F854C}"/>
          </ac:spMkLst>
        </pc:spChg>
        <pc:spChg chg="mod">
          <ac:chgData name="Zhao, Fang3 /CN" userId="6d45d956-d2a8-45bc-8431-7b59b21eb9ee" providerId="ADAL" clId="{AC052CAC-E7BD-4821-A3FE-0804A56D2E40}" dt="2022-10-25T10:26:23.945" v="4" actId="13926"/>
          <ac:spMkLst>
            <pc:docMk/>
            <pc:sldMk cId="316317293" sldId="2113690350"/>
            <ac:spMk id="93" creationId="{85FC53BB-CA77-44B0-A50B-E394D011131D}"/>
          </ac:spMkLst>
        </pc:spChg>
        <pc:spChg chg="mod">
          <ac:chgData name="Zhao, Fang3 /CN" userId="6d45d956-d2a8-45bc-8431-7b59b21eb9ee" providerId="ADAL" clId="{AC052CAC-E7BD-4821-A3FE-0804A56D2E40}" dt="2022-10-25T10:26:23.945" v="4" actId="13926"/>
          <ac:spMkLst>
            <pc:docMk/>
            <pc:sldMk cId="316317293" sldId="2113690350"/>
            <ac:spMk id="94" creationId="{690FC4E6-0C18-47AF-9533-363EE0C06CCF}"/>
          </ac:spMkLst>
        </pc:spChg>
        <pc:spChg chg="mod">
          <ac:chgData name="Zhao, Fang3 /CN" userId="6d45d956-d2a8-45bc-8431-7b59b21eb9ee" providerId="ADAL" clId="{AC052CAC-E7BD-4821-A3FE-0804A56D2E40}" dt="2022-10-25T10:26:23.945" v="4" actId="13926"/>
          <ac:spMkLst>
            <pc:docMk/>
            <pc:sldMk cId="316317293" sldId="2113690350"/>
            <ac:spMk id="96" creationId="{E20FBDC0-4BD4-4379-AA00-E1827C747BD1}"/>
          </ac:spMkLst>
        </pc:spChg>
        <pc:spChg chg="mod">
          <ac:chgData name="Zhao, Fang3 /CN" userId="6d45d956-d2a8-45bc-8431-7b59b21eb9ee" providerId="ADAL" clId="{AC052CAC-E7BD-4821-A3FE-0804A56D2E40}" dt="2022-10-25T10:26:23.945" v="4" actId="13926"/>
          <ac:spMkLst>
            <pc:docMk/>
            <pc:sldMk cId="316317293" sldId="2113690350"/>
            <ac:spMk id="97" creationId="{B32098E5-F077-4B51-8506-6D3590F2499E}"/>
          </ac:spMkLst>
        </pc:spChg>
        <pc:spChg chg="mod">
          <ac:chgData name="Zhao, Fang3 /CN" userId="6d45d956-d2a8-45bc-8431-7b59b21eb9ee" providerId="ADAL" clId="{AC052CAC-E7BD-4821-A3FE-0804A56D2E40}" dt="2022-10-25T10:26:23.945" v="4" actId="13926"/>
          <ac:spMkLst>
            <pc:docMk/>
            <pc:sldMk cId="316317293" sldId="2113690350"/>
            <ac:spMk id="99" creationId="{DCD10703-C4A2-4DBB-891E-BFC5AE315690}"/>
          </ac:spMkLst>
        </pc:spChg>
        <pc:spChg chg="mod">
          <ac:chgData name="Zhao, Fang3 /CN" userId="6d45d956-d2a8-45bc-8431-7b59b21eb9ee" providerId="ADAL" clId="{AC052CAC-E7BD-4821-A3FE-0804A56D2E40}" dt="2022-10-25T10:26:23.945" v="4" actId="13926"/>
          <ac:spMkLst>
            <pc:docMk/>
            <pc:sldMk cId="316317293" sldId="2113690350"/>
            <ac:spMk id="102" creationId="{B6FCCDE3-FC4D-4F93-BE17-001DAEBA46F2}"/>
          </ac:spMkLst>
        </pc:spChg>
        <pc:spChg chg="mod">
          <ac:chgData name="Zhao, Fang3 /CN" userId="6d45d956-d2a8-45bc-8431-7b59b21eb9ee" providerId="ADAL" clId="{AC052CAC-E7BD-4821-A3FE-0804A56D2E40}" dt="2022-10-25T10:26:23.945" v="4" actId="13926"/>
          <ac:spMkLst>
            <pc:docMk/>
            <pc:sldMk cId="316317293" sldId="2113690350"/>
            <ac:spMk id="106" creationId="{F55D46B8-2490-43D3-BC2B-36DC61B28D70}"/>
          </ac:spMkLst>
        </pc:spChg>
        <pc:spChg chg="mod">
          <ac:chgData name="Zhao, Fang3 /CN" userId="6d45d956-d2a8-45bc-8431-7b59b21eb9ee" providerId="ADAL" clId="{AC052CAC-E7BD-4821-A3FE-0804A56D2E40}" dt="2022-10-25T10:26:23.945" v="4" actId="13926"/>
          <ac:spMkLst>
            <pc:docMk/>
            <pc:sldMk cId="316317293" sldId="2113690350"/>
            <ac:spMk id="107" creationId="{92617421-BCB0-4006-A28B-12F4417A9E4A}"/>
          </ac:spMkLst>
        </pc:spChg>
        <pc:spChg chg="mod">
          <ac:chgData name="Zhao, Fang3 /CN" userId="6d45d956-d2a8-45bc-8431-7b59b21eb9ee" providerId="ADAL" clId="{AC052CAC-E7BD-4821-A3FE-0804A56D2E40}" dt="2022-10-25T10:26:23.945" v="4" actId="13926"/>
          <ac:spMkLst>
            <pc:docMk/>
            <pc:sldMk cId="316317293" sldId="2113690350"/>
            <ac:spMk id="108" creationId="{202807D1-6F4D-4DE3-B902-638B472D4372}"/>
          </ac:spMkLst>
        </pc:spChg>
        <pc:spChg chg="mod">
          <ac:chgData name="Zhao, Fang3 /CN" userId="6d45d956-d2a8-45bc-8431-7b59b21eb9ee" providerId="ADAL" clId="{AC052CAC-E7BD-4821-A3FE-0804A56D2E40}" dt="2022-10-25T10:26:23.945" v="4" actId="13926"/>
          <ac:spMkLst>
            <pc:docMk/>
            <pc:sldMk cId="316317293" sldId="2113690350"/>
            <ac:spMk id="109" creationId="{A40F4157-65B3-478A-9A05-A9DA1236EE08}"/>
          </ac:spMkLst>
        </pc:spChg>
        <pc:spChg chg="mod">
          <ac:chgData name="Zhao, Fang3 /CN" userId="6d45d956-d2a8-45bc-8431-7b59b21eb9ee" providerId="ADAL" clId="{AC052CAC-E7BD-4821-A3FE-0804A56D2E40}" dt="2022-10-25T10:26:23.945" v="4" actId="13926"/>
          <ac:spMkLst>
            <pc:docMk/>
            <pc:sldMk cId="316317293" sldId="2113690350"/>
            <ac:spMk id="110" creationId="{4A35AEB4-9716-4E0B-9FD5-A79D1B07CCEA}"/>
          </ac:spMkLst>
        </pc:spChg>
        <pc:spChg chg="mod">
          <ac:chgData name="Zhao, Fang3 /CN" userId="6d45d956-d2a8-45bc-8431-7b59b21eb9ee" providerId="ADAL" clId="{AC052CAC-E7BD-4821-A3FE-0804A56D2E40}" dt="2022-10-25T10:26:23.945" v="4" actId="13926"/>
          <ac:spMkLst>
            <pc:docMk/>
            <pc:sldMk cId="316317293" sldId="2113690350"/>
            <ac:spMk id="112" creationId="{ADA9FB44-5796-4C8A-BE3C-F60F1BFE4D80}"/>
          </ac:spMkLst>
        </pc:spChg>
        <pc:spChg chg="mod">
          <ac:chgData name="Zhao, Fang3 /CN" userId="6d45d956-d2a8-45bc-8431-7b59b21eb9ee" providerId="ADAL" clId="{AC052CAC-E7BD-4821-A3FE-0804A56D2E40}" dt="2022-10-25T10:26:23.945" v="4" actId="13926"/>
          <ac:spMkLst>
            <pc:docMk/>
            <pc:sldMk cId="316317293" sldId="2113690350"/>
            <ac:spMk id="113" creationId="{0C1BFCD7-15D0-470F-B354-B9E68F19643C}"/>
          </ac:spMkLst>
        </pc:spChg>
        <pc:spChg chg="mod">
          <ac:chgData name="Zhao, Fang3 /CN" userId="6d45d956-d2a8-45bc-8431-7b59b21eb9ee" providerId="ADAL" clId="{AC052CAC-E7BD-4821-A3FE-0804A56D2E40}" dt="2022-10-25T10:26:23.945" v="4" actId="13926"/>
          <ac:spMkLst>
            <pc:docMk/>
            <pc:sldMk cId="316317293" sldId="2113690350"/>
            <ac:spMk id="121" creationId="{2E7020C3-18EA-4345-859A-9E498CEE7ED7}"/>
          </ac:spMkLst>
        </pc:spChg>
        <pc:spChg chg="mod">
          <ac:chgData name="Zhao, Fang3 /CN" userId="6d45d956-d2a8-45bc-8431-7b59b21eb9ee" providerId="ADAL" clId="{AC052CAC-E7BD-4821-A3FE-0804A56D2E40}" dt="2022-10-25T10:26:23.945" v="4" actId="13926"/>
          <ac:spMkLst>
            <pc:docMk/>
            <pc:sldMk cId="316317293" sldId="2113690350"/>
            <ac:spMk id="149" creationId="{2B6CACD4-5017-4879-A055-247FD0F68677}"/>
          </ac:spMkLst>
        </pc:spChg>
      </pc:sldChg>
    </pc:docChg>
  </pc:docChgLst>
  <pc:docChgLst>
    <pc:chgData name="Zhao, Fang3 /CN" userId="6d45d956-d2a8-45bc-8431-7b59b21eb9ee" providerId="ADAL" clId="{F455A177-F46B-4179-A0C3-F5441ECF36A8}"/>
    <pc:docChg chg="modSld">
      <pc:chgData name="Zhao, Fang3 /CN" userId="6d45d956-d2a8-45bc-8431-7b59b21eb9ee" providerId="ADAL" clId="{F455A177-F46B-4179-A0C3-F5441ECF36A8}" dt="2021-12-24T15:26:12.419" v="3"/>
      <pc:docMkLst>
        <pc:docMk/>
      </pc:docMkLst>
      <pc:sldChg chg="modSp mod">
        <pc:chgData name="Zhao, Fang3 /CN" userId="6d45d956-d2a8-45bc-8431-7b59b21eb9ee" providerId="ADAL" clId="{F455A177-F46B-4179-A0C3-F5441ECF36A8}" dt="2021-12-24T15:26:12.419" v="3"/>
        <pc:sldMkLst>
          <pc:docMk/>
          <pc:sldMk cId="3656256720" sldId="2113690370"/>
        </pc:sldMkLst>
        <pc:spChg chg="mod">
          <ac:chgData name="Zhao, Fang3 /CN" userId="6d45d956-d2a8-45bc-8431-7b59b21eb9ee" providerId="ADAL" clId="{F455A177-F46B-4179-A0C3-F5441ECF36A8}" dt="2021-12-24T15:26:12.419" v="3"/>
          <ac:spMkLst>
            <pc:docMk/>
            <pc:sldMk cId="3656256720" sldId="2113690370"/>
            <ac:spMk id="4" creationId="{16E84AE0-F627-4087-8EA0-9AFC666430F7}"/>
          </ac:spMkLst>
        </pc:spChg>
      </pc:sldChg>
    </pc:docChg>
  </pc:docChgLst>
  <pc:docChgLst>
    <pc:chgData name="Zhao, Fang3 /CN" userId="6d45d956-d2a8-45bc-8431-7b59b21eb9ee" providerId="ADAL" clId="{0AC62225-7380-4720-B74A-F2AB76A474AD}"/>
    <pc:docChg chg="undo custSel modSld">
      <pc:chgData name="Zhao, Fang3 /CN" userId="6d45d956-d2a8-45bc-8431-7b59b21eb9ee" providerId="ADAL" clId="{0AC62225-7380-4720-B74A-F2AB76A474AD}" dt="2022-11-13T06:10:42.151" v="583" actId="115"/>
      <pc:docMkLst>
        <pc:docMk/>
      </pc:docMkLst>
      <pc:sldChg chg="modSp mod">
        <pc:chgData name="Zhao, Fang3 /CN" userId="6d45d956-d2a8-45bc-8431-7b59b21eb9ee" providerId="ADAL" clId="{0AC62225-7380-4720-B74A-F2AB76A474AD}" dt="2022-11-12T14:40:03.831" v="149" actId="14100"/>
        <pc:sldMkLst>
          <pc:docMk/>
          <pc:sldMk cId="0" sldId="274"/>
        </pc:sldMkLst>
        <pc:spChg chg="mod">
          <ac:chgData name="Zhao, Fang3 /CN" userId="6d45d956-d2a8-45bc-8431-7b59b21eb9ee" providerId="ADAL" clId="{0AC62225-7380-4720-B74A-F2AB76A474AD}" dt="2022-11-12T14:36:56.826" v="120" actId="14100"/>
          <ac:spMkLst>
            <pc:docMk/>
            <pc:sldMk cId="0" sldId="274"/>
            <ac:spMk id="22" creationId="{00000000-0000-0000-0000-000000000000}"/>
          </ac:spMkLst>
        </pc:spChg>
        <pc:spChg chg="mod">
          <ac:chgData name="Zhao, Fang3 /CN" userId="6d45d956-d2a8-45bc-8431-7b59b21eb9ee" providerId="ADAL" clId="{0AC62225-7380-4720-B74A-F2AB76A474AD}" dt="2022-11-12T14:40:03.831" v="149" actId="14100"/>
          <ac:spMkLst>
            <pc:docMk/>
            <pc:sldMk cId="0" sldId="274"/>
            <ac:spMk id="23" creationId="{00000000-0000-0000-0000-000000000000}"/>
          </ac:spMkLst>
        </pc:spChg>
        <pc:spChg chg="mod">
          <ac:chgData name="Zhao, Fang3 /CN" userId="6d45d956-d2a8-45bc-8431-7b59b21eb9ee" providerId="ADAL" clId="{0AC62225-7380-4720-B74A-F2AB76A474AD}" dt="2022-11-12T14:36:49.654" v="118" actId="1076"/>
          <ac:spMkLst>
            <pc:docMk/>
            <pc:sldMk cId="0" sldId="274"/>
            <ac:spMk id="25" creationId="{00000000-0000-0000-0000-000000000000}"/>
          </ac:spMkLst>
        </pc:spChg>
        <pc:spChg chg="mod">
          <ac:chgData name="Zhao, Fang3 /CN" userId="6d45d956-d2a8-45bc-8431-7b59b21eb9ee" providerId="ADAL" clId="{0AC62225-7380-4720-B74A-F2AB76A474AD}" dt="2022-11-12T14:39:47.757" v="145" actId="14100"/>
          <ac:spMkLst>
            <pc:docMk/>
            <pc:sldMk cId="0" sldId="274"/>
            <ac:spMk id="26" creationId="{00000000-0000-0000-0000-000000000000}"/>
          </ac:spMkLst>
        </pc:spChg>
        <pc:spChg chg="mod">
          <ac:chgData name="Zhao, Fang3 /CN" userId="6d45d956-d2a8-45bc-8431-7b59b21eb9ee" providerId="ADAL" clId="{0AC62225-7380-4720-B74A-F2AB76A474AD}" dt="2022-11-12T14:36:45.531" v="117" actId="403"/>
          <ac:spMkLst>
            <pc:docMk/>
            <pc:sldMk cId="0" sldId="274"/>
            <ac:spMk id="27" creationId="{00000000-0000-0000-0000-000000000000}"/>
          </ac:spMkLst>
        </pc:spChg>
        <pc:spChg chg="mod">
          <ac:chgData name="Zhao, Fang3 /CN" userId="6d45d956-d2a8-45bc-8431-7b59b21eb9ee" providerId="ADAL" clId="{0AC62225-7380-4720-B74A-F2AB76A474AD}" dt="2022-11-12T14:36:54.421" v="119" actId="14100"/>
          <ac:spMkLst>
            <pc:docMk/>
            <pc:sldMk cId="0" sldId="274"/>
            <ac:spMk id="29" creationId="{00000000-0000-0000-0000-000000000000}"/>
          </ac:spMkLst>
        </pc:spChg>
        <pc:spChg chg="mod">
          <ac:chgData name="Zhao, Fang3 /CN" userId="6d45d956-d2a8-45bc-8431-7b59b21eb9ee" providerId="ADAL" clId="{0AC62225-7380-4720-B74A-F2AB76A474AD}" dt="2022-11-12T14:39:59.192" v="148" actId="14100"/>
          <ac:spMkLst>
            <pc:docMk/>
            <pc:sldMk cId="0" sldId="274"/>
            <ac:spMk id="30" creationId="{00000000-0000-0000-0000-000000000000}"/>
          </ac:spMkLst>
        </pc:spChg>
        <pc:spChg chg="mod">
          <ac:chgData name="Zhao, Fang3 /CN" userId="6d45d956-d2a8-45bc-8431-7b59b21eb9ee" providerId="ADAL" clId="{0AC62225-7380-4720-B74A-F2AB76A474AD}" dt="2022-11-12T14:36:42.169" v="115" actId="404"/>
          <ac:spMkLst>
            <pc:docMk/>
            <pc:sldMk cId="0" sldId="274"/>
            <ac:spMk id="31" creationId="{00000000-0000-0000-0000-000000000000}"/>
          </ac:spMkLst>
        </pc:spChg>
        <pc:spChg chg="mod">
          <ac:chgData name="Zhao, Fang3 /CN" userId="6d45d956-d2a8-45bc-8431-7b59b21eb9ee" providerId="ADAL" clId="{0AC62225-7380-4720-B74A-F2AB76A474AD}" dt="2022-11-12T14:38:41.178" v="132" actId="1076"/>
          <ac:spMkLst>
            <pc:docMk/>
            <pc:sldMk cId="0" sldId="274"/>
            <ac:spMk id="39" creationId="{2F87807E-D8A3-441A-9468-7B334DC05A62}"/>
          </ac:spMkLst>
        </pc:spChg>
        <pc:spChg chg="mod">
          <ac:chgData name="Zhao, Fang3 /CN" userId="6d45d956-d2a8-45bc-8431-7b59b21eb9ee" providerId="ADAL" clId="{0AC62225-7380-4720-B74A-F2AB76A474AD}" dt="2022-11-12T14:35:48.105" v="97" actId="1076"/>
          <ac:spMkLst>
            <pc:docMk/>
            <pc:sldMk cId="0" sldId="274"/>
            <ac:spMk id="56" creationId="{00000000-0000-0000-0000-000000000000}"/>
          </ac:spMkLst>
        </pc:spChg>
        <pc:spChg chg="mod">
          <ac:chgData name="Zhao, Fang3 /CN" userId="6d45d956-d2a8-45bc-8431-7b59b21eb9ee" providerId="ADAL" clId="{0AC62225-7380-4720-B74A-F2AB76A474AD}" dt="2022-11-12T14:35:51.648" v="98" actId="108"/>
          <ac:spMkLst>
            <pc:docMk/>
            <pc:sldMk cId="0" sldId="274"/>
            <ac:spMk id="57" creationId="{00000000-0000-0000-0000-000000000000}"/>
          </ac:spMkLst>
        </pc:spChg>
        <pc:spChg chg="mod">
          <ac:chgData name="Zhao, Fang3 /CN" userId="6d45d956-d2a8-45bc-8431-7b59b21eb9ee" providerId="ADAL" clId="{0AC62225-7380-4720-B74A-F2AB76A474AD}" dt="2022-11-12T14:36:06.320" v="102" actId="14100"/>
          <ac:spMkLst>
            <pc:docMk/>
            <pc:sldMk cId="0" sldId="274"/>
            <ac:spMk id="58" creationId="{00000000-0000-0000-0000-000000000000}"/>
          </ac:spMkLst>
        </pc:spChg>
        <pc:grpChg chg="mod">
          <ac:chgData name="Zhao, Fang3 /CN" userId="6d45d956-d2a8-45bc-8431-7b59b21eb9ee" providerId="ADAL" clId="{0AC62225-7380-4720-B74A-F2AB76A474AD}" dt="2022-11-12T14:36:31.298" v="109" actId="1076"/>
          <ac:grpSpMkLst>
            <pc:docMk/>
            <pc:sldMk cId="0" sldId="274"/>
            <ac:grpSpMk id="21" creationId="{00000000-0000-0000-0000-000000000000}"/>
          </ac:grpSpMkLst>
        </pc:grpChg>
        <pc:picChg chg="mod">
          <ac:chgData name="Zhao, Fang3 /CN" userId="6d45d956-d2a8-45bc-8431-7b59b21eb9ee" providerId="ADAL" clId="{0AC62225-7380-4720-B74A-F2AB76A474AD}" dt="2022-11-12T14:38:58.098" v="133" actId="1076"/>
          <ac:picMkLst>
            <pc:docMk/>
            <pc:sldMk cId="0" sldId="274"/>
            <ac:picMk id="40" creationId="{30FB68BA-98B8-4007-B4CC-D94668237E7A}"/>
          </ac:picMkLst>
        </pc:picChg>
      </pc:sldChg>
      <pc:sldChg chg="delSp modSp mod">
        <pc:chgData name="Zhao, Fang3 /CN" userId="6d45d956-d2a8-45bc-8431-7b59b21eb9ee" providerId="ADAL" clId="{0AC62225-7380-4720-B74A-F2AB76A474AD}" dt="2022-11-12T14:38:31.964" v="131" actId="14100"/>
        <pc:sldMkLst>
          <pc:docMk/>
          <pc:sldMk cId="4197098525" sldId="6248"/>
        </pc:sldMkLst>
        <pc:spChg chg="mod">
          <ac:chgData name="Zhao, Fang3 /CN" userId="6d45d956-d2a8-45bc-8431-7b59b21eb9ee" providerId="ADAL" clId="{0AC62225-7380-4720-B74A-F2AB76A474AD}" dt="2022-11-12T14:34:16.422" v="69" actId="14100"/>
          <ac:spMkLst>
            <pc:docMk/>
            <pc:sldMk cId="4197098525" sldId="6248"/>
            <ac:spMk id="2" creationId="{977CBF4F-AE36-47DD-93FC-15C37B9FEA96}"/>
          </ac:spMkLst>
        </pc:spChg>
        <pc:spChg chg="mod">
          <ac:chgData name="Zhao, Fang3 /CN" userId="6d45d956-d2a8-45bc-8431-7b59b21eb9ee" providerId="ADAL" clId="{0AC62225-7380-4720-B74A-F2AB76A474AD}" dt="2022-11-12T14:37:12.943" v="121" actId="404"/>
          <ac:spMkLst>
            <pc:docMk/>
            <pc:sldMk cId="4197098525" sldId="6248"/>
            <ac:spMk id="5" creationId="{BDAC8A51-D517-4F13-9D28-A5647DAD3446}"/>
          </ac:spMkLst>
        </pc:spChg>
        <pc:spChg chg="mod">
          <ac:chgData name="Zhao, Fang3 /CN" userId="6d45d956-d2a8-45bc-8431-7b59b21eb9ee" providerId="ADAL" clId="{0AC62225-7380-4720-B74A-F2AB76A474AD}" dt="2022-11-12T14:37:16.047" v="122" actId="404"/>
          <ac:spMkLst>
            <pc:docMk/>
            <pc:sldMk cId="4197098525" sldId="6248"/>
            <ac:spMk id="17" creationId="{78CDE363-A544-456A-B31F-2E433564AFE8}"/>
          </ac:spMkLst>
        </pc:spChg>
        <pc:spChg chg="mod">
          <ac:chgData name="Zhao, Fang3 /CN" userId="6d45d956-d2a8-45bc-8431-7b59b21eb9ee" providerId="ADAL" clId="{0AC62225-7380-4720-B74A-F2AB76A474AD}" dt="2022-11-12T14:37:23.819" v="124" actId="1076"/>
          <ac:spMkLst>
            <pc:docMk/>
            <pc:sldMk cId="4197098525" sldId="6248"/>
            <ac:spMk id="19" creationId="{D9D96126-B117-468E-ADA0-FF1516C56ADA}"/>
          </ac:spMkLst>
        </pc:spChg>
        <pc:spChg chg="mod">
          <ac:chgData name="Zhao, Fang3 /CN" userId="6d45d956-d2a8-45bc-8431-7b59b21eb9ee" providerId="ADAL" clId="{0AC62225-7380-4720-B74A-F2AB76A474AD}" dt="2022-11-12T14:34:52.137" v="82" actId="1076"/>
          <ac:spMkLst>
            <pc:docMk/>
            <pc:sldMk cId="4197098525" sldId="6248"/>
            <ac:spMk id="33" creationId="{882B0394-8180-4222-A407-6FF2685EA93E}"/>
          </ac:spMkLst>
        </pc:spChg>
        <pc:spChg chg="mod">
          <ac:chgData name="Zhao, Fang3 /CN" userId="6d45d956-d2a8-45bc-8431-7b59b21eb9ee" providerId="ADAL" clId="{0AC62225-7380-4720-B74A-F2AB76A474AD}" dt="2022-11-12T14:34:50.519" v="81" actId="1076"/>
          <ac:spMkLst>
            <pc:docMk/>
            <pc:sldMk cId="4197098525" sldId="6248"/>
            <ac:spMk id="34" creationId="{5CAB795F-C26F-4D79-9A4D-726BBB43BA2C}"/>
          </ac:spMkLst>
        </pc:spChg>
        <pc:spChg chg="del mod">
          <ac:chgData name="Zhao, Fang3 /CN" userId="6d45d956-d2a8-45bc-8431-7b59b21eb9ee" providerId="ADAL" clId="{0AC62225-7380-4720-B74A-F2AB76A474AD}" dt="2022-11-12T14:38:27.674" v="130" actId="478"/>
          <ac:spMkLst>
            <pc:docMk/>
            <pc:sldMk cId="4197098525" sldId="6248"/>
            <ac:spMk id="35" creationId="{B27DE021-F1D0-4B4B-8EA2-18EFDFCD182A}"/>
          </ac:spMkLst>
        </pc:spChg>
        <pc:spChg chg="mod">
          <ac:chgData name="Zhao, Fang3 /CN" userId="6d45d956-d2a8-45bc-8431-7b59b21eb9ee" providerId="ADAL" clId="{0AC62225-7380-4720-B74A-F2AB76A474AD}" dt="2022-11-12T14:38:31.964" v="131" actId="14100"/>
          <ac:spMkLst>
            <pc:docMk/>
            <pc:sldMk cId="4197098525" sldId="6248"/>
            <ac:spMk id="44" creationId="{F99B3496-4FE1-45C3-B869-E59366B4EDA1}"/>
          </ac:spMkLst>
        </pc:spChg>
        <pc:grpChg chg="mod">
          <ac:chgData name="Zhao, Fang3 /CN" userId="6d45d956-d2a8-45bc-8431-7b59b21eb9ee" providerId="ADAL" clId="{0AC62225-7380-4720-B74A-F2AB76A474AD}" dt="2022-11-12T14:34:47.402" v="80" actId="1076"/>
          <ac:grpSpMkLst>
            <pc:docMk/>
            <pc:sldMk cId="4197098525" sldId="6248"/>
            <ac:grpSpMk id="30" creationId="{F0BAA9EA-D176-43F5-9A18-05914711B975}"/>
          </ac:grpSpMkLst>
        </pc:grpChg>
      </pc:sldChg>
      <pc:sldChg chg="modSp mod">
        <pc:chgData name="Zhao, Fang3 /CN" userId="6d45d956-d2a8-45bc-8431-7b59b21eb9ee" providerId="ADAL" clId="{0AC62225-7380-4720-B74A-F2AB76A474AD}" dt="2022-11-12T14:50:01.589" v="245" actId="20577"/>
        <pc:sldMkLst>
          <pc:docMk/>
          <pc:sldMk cId="1339817880" sldId="6249"/>
        </pc:sldMkLst>
        <pc:graphicFrameChg chg="mod modGraphic">
          <ac:chgData name="Zhao, Fang3 /CN" userId="6d45d956-d2a8-45bc-8431-7b59b21eb9ee" providerId="ADAL" clId="{0AC62225-7380-4720-B74A-F2AB76A474AD}" dt="2022-11-12T14:50:01.589" v="245" actId="20577"/>
          <ac:graphicFrameMkLst>
            <pc:docMk/>
            <pc:sldMk cId="1339817880" sldId="6249"/>
            <ac:graphicFrameMk id="7" creationId="{952630CA-7251-4DD4-AD45-B867B862F39E}"/>
          </ac:graphicFrameMkLst>
        </pc:graphicFrameChg>
      </pc:sldChg>
      <pc:sldChg chg="addSp delSp modSp mod">
        <pc:chgData name="Zhao, Fang3 /CN" userId="6d45d956-d2a8-45bc-8431-7b59b21eb9ee" providerId="ADAL" clId="{0AC62225-7380-4720-B74A-F2AB76A474AD}" dt="2022-11-13T06:10:35.055" v="582" actId="115"/>
        <pc:sldMkLst>
          <pc:docMk/>
          <pc:sldMk cId="1136407195" sldId="6250"/>
        </pc:sldMkLst>
        <pc:spChg chg="mod">
          <ac:chgData name="Zhao, Fang3 /CN" userId="6d45d956-d2a8-45bc-8431-7b59b21eb9ee" providerId="ADAL" clId="{0AC62225-7380-4720-B74A-F2AB76A474AD}" dt="2022-11-12T14:42:13.402" v="222" actId="207"/>
          <ac:spMkLst>
            <pc:docMk/>
            <pc:sldMk cId="1136407195" sldId="6250"/>
            <ac:spMk id="7" creationId="{022DE1AA-C052-4F58-9CBA-F1B5EBF3EA09}"/>
          </ac:spMkLst>
        </pc:spChg>
        <pc:spChg chg="add del mod">
          <ac:chgData name="Zhao, Fang3 /CN" userId="6d45d956-d2a8-45bc-8431-7b59b21eb9ee" providerId="ADAL" clId="{0AC62225-7380-4720-B74A-F2AB76A474AD}" dt="2022-11-13T06:02:50.143" v="552" actId="478"/>
          <ac:spMkLst>
            <pc:docMk/>
            <pc:sldMk cId="1136407195" sldId="6250"/>
            <ac:spMk id="8" creationId="{6A7173CB-11A3-4A8E-BFFD-B37224920364}"/>
          </ac:spMkLst>
        </pc:spChg>
        <pc:graphicFrameChg chg="mod modGraphic">
          <ac:chgData name="Zhao, Fang3 /CN" userId="6d45d956-d2a8-45bc-8431-7b59b21eb9ee" providerId="ADAL" clId="{0AC62225-7380-4720-B74A-F2AB76A474AD}" dt="2022-11-13T06:10:35.055" v="582" actId="115"/>
          <ac:graphicFrameMkLst>
            <pc:docMk/>
            <pc:sldMk cId="1136407195" sldId="6250"/>
            <ac:graphicFrameMk id="6" creationId="{297B7288-5CD5-41D0-BAA3-0AD9E4AE3120}"/>
          </ac:graphicFrameMkLst>
        </pc:graphicFrameChg>
      </pc:sldChg>
      <pc:sldChg chg="addSp delSp modSp mod">
        <pc:chgData name="Zhao, Fang3 /CN" userId="6d45d956-d2a8-45bc-8431-7b59b21eb9ee" providerId="ADAL" clId="{0AC62225-7380-4720-B74A-F2AB76A474AD}" dt="2022-11-13T06:10:42.151" v="583" actId="115"/>
        <pc:sldMkLst>
          <pc:docMk/>
          <pc:sldMk cId="1554019759" sldId="6251"/>
        </pc:sldMkLst>
        <pc:spChg chg="add del mod">
          <ac:chgData name="Zhao, Fang3 /CN" userId="6d45d956-d2a8-45bc-8431-7b59b21eb9ee" providerId="ADAL" clId="{0AC62225-7380-4720-B74A-F2AB76A474AD}" dt="2022-11-13T06:02:53.169" v="553" actId="478"/>
          <ac:spMkLst>
            <pc:docMk/>
            <pc:sldMk cId="1554019759" sldId="6251"/>
            <ac:spMk id="2" creationId="{768BE3F3-9575-420F-ADBA-CFE0C97D5679}"/>
          </ac:spMkLst>
        </pc:spChg>
        <pc:spChg chg="del">
          <ac:chgData name="Zhao, Fang3 /CN" userId="6d45d956-d2a8-45bc-8431-7b59b21eb9ee" providerId="ADAL" clId="{0AC62225-7380-4720-B74A-F2AB76A474AD}" dt="2022-11-12T14:42:32.680" v="225" actId="478"/>
          <ac:spMkLst>
            <pc:docMk/>
            <pc:sldMk cId="1554019759" sldId="6251"/>
            <ac:spMk id="8" creationId="{25B9B3F2-202A-4BFE-BC8C-799F6CFBB2FA}"/>
          </ac:spMkLst>
        </pc:spChg>
        <pc:spChg chg="add mod">
          <ac:chgData name="Zhao, Fang3 /CN" userId="6d45d956-d2a8-45bc-8431-7b59b21eb9ee" providerId="ADAL" clId="{0AC62225-7380-4720-B74A-F2AB76A474AD}" dt="2022-11-12T14:42:29.714" v="224" actId="1076"/>
          <ac:spMkLst>
            <pc:docMk/>
            <pc:sldMk cId="1554019759" sldId="6251"/>
            <ac:spMk id="9" creationId="{013D94FE-2B2B-42CB-AA0B-0D9DF1856A0D}"/>
          </ac:spMkLst>
        </pc:spChg>
        <pc:graphicFrameChg chg="mod modGraphic">
          <ac:chgData name="Zhao, Fang3 /CN" userId="6d45d956-d2a8-45bc-8431-7b59b21eb9ee" providerId="ADAL" clId="{0AC62225-7380-4720-B74A-F2AB76A474AD}" dt="2022-11-13T06:10:42.151" v="583" actId="115"/>
          <ac:graphicFrameMkLst>
            <pc:docMk/>
            <pc:sldMk cId="1554019759" sldId="6251"/>
            <ac:graphicFrameMk id="6" creationId="{69C5D58C-ABED-4372-BA6E-928F446E44E5}"/>
          </ac:graphicFrameMkLst>
        </pc:graphicFrameChg>
      </pc:sldChg>
      <pc:sldChg chg="delSp modSp mod">
        <pc:chgData name="Zhao, Fang3 /CN" userId="6d45d956-d2a8-45bc-8431-7b59b21eb9ee" providerId="ADAL" clId="{0AC62225-7380-4720-B74A-F2AB76A474AD}" dt="2022-11-13T06:09:58.959" v="579" actId="115"/>
        <pc:sldMkLst>
          <pc:docMk/>
          <pc:sldMk cId="316317293" sldId="2113690350"/>
        </pc:sldMkLst>
        <pc:spChg chg="mod">
          <ac:chgData name="Zhao, Fang3 /CN" userId="6d45d956-d2a8-45bc-8431-7b59b21eb9ee" providerId="ADAL" clId="{0AC62225-7380-4720-B74A-F2AB76A474AD}" dt="2022-11-12T14:33:47.831" v="60" actId="1076"/>
          <ac:spMkLst>
            <pc:docMk/>
            <pc:sldMk cId="316317293" sldId="2113690350"/>
            <ac:spMk id="2" creationId="{C6316527-ADA5-45C7-915C-826BE13AB8A5}"/>
          </ac:spMkLst>
        </pc:spChg>
        <pc:spChg chg="del mod">
          <ac:chgData name="Zhao, Fang3 /CN" userId="6d45d956-d2a8-45bc-8431-7b59b21eb9ee" providerId="ADAL" clId="{0AC62225-7380-4720-B74A-F2AB76A474AD}" dt="2022-11-12T14:33:23.734" v="54" actId="478"/>
          <ac:spMkLst>
            <pc:docMk/>
            <pc:sldMk cId="316317293" sldId="2113690350"/>
            <ac:spMk id="3" creationId="{8FBD8BF1-EA09-4426-9944-5725F20D7421}"/>
          </ac:spMkLst>
        </pc:spChg>
        <pc:spChg chg="mod">
          <ac:chgData name="Zhao, Fang3 /CN" userId="6d45d956-d2a8-45bc-8431-7b59b21eb9ee" providerId="ADAL" clId="{0AC62225-7380-4720-B74A-F2AB76A474AD}" dt="2022-11-12T14:33:17.851" v="53" actId="13926"/>
          <ac:spMkLst>
            <pc:docMk/>
            <pc:sldMk cId="316317293" sldId="2113690350"/>
            <ac:spMk id="7" creationId="{074221F3-DA41-4569-8413-B4AF240FA1F8}"/>
          </ac:spMkLst>
        </pc:spChg>
        <pc:spChg chg="mod">
          <ac:chgData name="Zhao, Fang3 /CN" userId="6d45d956-d2a8-45bc-8431-7b59b21eb9ee" providerId="ADAL" clId="{0AC62225-7380-4720-B74A-F2AB76A474AD}" dt="2022-11-12T14:33:17.851" v="53" actId="13926"/>
          <ac:spMkLst>
            <pc:docMk/>
            <pc:sldMk cId="316317293" sldId="2113690350"/>
            <ac:spMk id="10" creationId="{11E17CFD-CDD2-4060-8F04-D0F65450ECDF}"/>
          </ac:spMkLst>
        </pc:spChg>
        <pc:spChg chg="mod">
          <ac:chgData name="Zhao, Fang3 /CN" userId="6d45d956-d2a8-45bc-8431-7b59b21eb9ee" providerId="ADAL" clId="{0AC62225-7380-4720-B74A-F2AB76A474AD}" dt="2022-11-13T06:09:58.959" v="579" actId="115"/>
          <ac:spMkLst>
            <pc:docMk/>
            <pc:sldMk cId="316317293" sldId="2113690350"/>
            <ac:spMk id="15" creationId="{646F796B-7BBB-4B21-979F-9BECE5DBFF06}"/>
          </ac:spMkLst>
        </pc:spChg>
        <pc:spChg chg="mod">
          <ac:chgData name="Zhao, Fang3 /CN" userId="6d45d956-d2a8-45bc-8431-7b59b21eb9ee" providerId="ADAL" clId="{0AC62225-7380-4720-B74A-F2AB76A474AD}" dt="2022-11-12T14:33:17.851" v="53" actId="13926"/>
          <ac:spMkLst>
            <pc:docMk/>
            <pc:sldMk cId="316317293" sldId="2113690350"/>
            <ac:spMk id="17" creationId="{95168AFD-8E18-4DF5-8F0B-80DDEBDED293}"/>
          </ac:spMkLst>
        </pc:spChg>
        <pc:spChg chg="mod">
          <ac:chgData name="Zhao, Fang3 /CN" userId="6d45d956-d2a8-45bc-8431-7b59b21eb9ee" providerId="ADAL" clId="{0AC62225-7380-4720-B74A-F2AB76A474AD}" dt="2022-11-12T14:33:17.851" v="53" actId="13926"/>
          <ac:spMkLst>
            <pc:docMk/>
            <pc:sldMk cId="316317293" sldId="2113690350"/>
            <ac:spMk id="18" creationId="{A49C0705-AD90-47EF-A6C6-7B514FB0A0EF}"/>
          </ac:spMkLst>
        </pc:spChg>
        <pc:spChg chg="mod">
          <ac:chgData name="Zhao, Fang3 /CN" userId="6d45d956-d2a8-45bc-8431-7b59b21eb9ee" providerId="ADAL" clId="{0AC62225-7380-4720-B74A-F2AB76A474AD}" dt="2022-11-12T14:33:17.851" v="53" actId="13926"/>
          <ac:spMkLst>
            <pc:docMk/>
            <pc:sldMk cId="316317293" sldId="2113690350"/>
            <ac:spMk id="20" creationId="{C2BB12FF-53E5-4BB4-9491-C3451530D1E1}"/>
          </ac:spMkLst>
        </pc:spChg>
        <pc:spChg chg="mod">
          <ac:chgData name="Zhao, Fang3 /CN" userId="6d45d956-d2a8-45bc-8431-7b59b21eb9ee" providerId="ADAL" clId="{0AC62225-7380-4720-B74A-F2AB76A474AD}" dt="2022-11-12T14:33:17.851" v="53" actId="13926"/>
          <ac:spMkLst>
            <pc:docMk/>
            <pc:sldMk cId="316317293" sldId="2113690350"/>
            <ac:spMk id="27" creationId="{E45A0BB6-4996-4E90-B121-4B9ABF7CDB00}"/>
          </ac:spMkLst>
        </pc:spChg>
        <pc:spChg chg="mod">
          <ac:chgData name="Zhao, Fang3 /CN" userId="6d45d956-d2a8-45bc-8431-7b59b21eb9ee" providerId="ADAL" clId="{0AC62225-7380-4720-B74A-F2AB76A474AD}" dt="2022-11-12T14:33:17.851" v="53" actId="13926"/>
          <ac:spMkLst>
            <pc:docMk/>
            <pc:sldMk cId="316317293" sldId="2113690350"/>
            <ac:spMk id="66" creationId="{F9419C44-B4EB-4F6C-99AA-2F3A40873760}"/>
          </ac:spMkLst>
        </pc:spChg>
        <pc:spChg chg="mod">
          <ac:chgData name="Zhao, Fang3 /CN" userId="6d45d956-d2a8-45bc-8431-7b59b21eb9ee" providerId="ADAL" clId="{0AC62225-7380-4720-B74A-F2AB76A474AD}" dt="2022-11-12T14:33:17.851" v="53" actId="13926"/>
          <ac:spMkLst>
            <pc:docMk/>
            <pc:sldMk cId="316317293" sldId="2113690350"/>
            <ac:spMk id="68" creationId="{882CBD50-9181-4962-9EED-C64E1C6629E7}"/>
          </ac:spMkLst>
        </pc:spChg>
        <pc:spChg chg="mod">
          <ac:chgData name="Zhao, Fang3 /CN" userId="6d45d956-d2a8-45bc-8431-7b59b21eb9ee" providerId="ADAL" clId="{0AC62225-7380-4720-B74A-F2AB76A474AD}" dt="2022-11-12T14:33:17.851" v="53" actId="13926"/>
          <ac:spMkLst>
            <pc:docMk/>
            <pc:sldMk cId="316317293" sldId="2113690350"/>
            <ac:spMk id="73" creationId="{6EBBEFB0-CC72-41FC-8053-C01E7EC4CCDB}"/>
          </ac:spMkLst>
        </pc:spChg>
        <pc:spChg chg="mod">
          <ac:chgData name="Zhao, Fang3 /CN" userId="6d45d956-d2a8-45bc-8431-7b59b21eb9ee" providerId="ADAL" clId="{0AC62225-7380-4720-B74A-F2AB76A474AD}" dt="2022-11-12T14:33:17.851" v="53" actId="13926"/>
          <ac:spMkLst>
            <pc:docMk/>
            <pc:sldMk cId="316317293" sldId="2113690350"/>
            <ac:spMk id="75" creationId="{E2E73886-3D05-41B1-9268-B5D165CD2D14}"/>
          </ac:spMkLst>
        </pc:spChg>
        <pc:spChg chg="mod">
          <ac:chgData name="Zhao, Fang3 /CN" userId="6d45d956-d2a8-45bc-8431-7b59b21eb9ee" providerId="ADAL" clId="{0AC62225-7380-4720-B74A-F2AB76A474AD}" dt="2022-11-12T14:33:17.851" v="53" actId="13926"/>
          <ac:spMkLst>
            <pc:docMk/>
            <pc:sldMk cId="316317293" sldId="2113690350"/>
            <ac:spMk id="76" creationId="{F50142F4-AE6B-43BA-8547-63FAA378BBB9}"/>
          </ac:spMkLst>
        </pc:spChg>
        <pc:spChg chg="mod">
          <ac:chgData name="Zhao, Fang3 /CN" userId="6d45d956-d2a8-45bc-8431-7b59b21eb9ee" providerId="ADAL" clId="{0AC62225-7380-4720-B74A-F2AB76A474AD}" dt="2022-11-12T14:33:17.851" v="53" actId="13926"/>
          <ac:spMkLst>
            <pc:docMk/>
            <pc:sldMk cId="316317293" sldId="2113690350"/>
            <ac:spMk id="82" creationId="{E7E6F7AB-E038-42FD-BBB0-B2677F36116B}"/>
          </ac:spMkLst>
        </pc:spChg>
        <pc:spChg chg="mod">
          <ac:chgData name="Zhao, Fang3 /CN" userId="6d45d956-d2a8-45bc-8431-7b59b21eb9ee" providerId="ADAL" clId="{0AC62225-7380-4720-B74A-F2AB76A474AD}" dt="2022-11-12T14:33:17.851" v="53" actId="13926"/>
          <ac:spMkLst>
            <pc:docMk/>
            <pc:sldMk cId="316317293" sldId="2113690350"/>
            <ac:spMk id="83" creationId="{6A8B648D-190B-4178-98F6-7890B8985283}"/>
          </ac:spMkLst>
        </pc:spChg>
        <pc:spChg chg="del">
          <ac:chgData name="Zhao, Fang3 /CN" userId="6d45d956-d2a8-45bc-8431-7b59b21eb9ee" providerId="ADAL" clId="{0AC62225-7380-4720-B74A-F2AB76A474AD}" dt="2022-11-12T14:33:05.878" v="49" actId="478"/>
          <ac:spMkLst>
            <pc:docMk/>
            <pc:sldMk cId="316317293" sldId="2113690350"/>
            <ac:spMk id="84" creationId="{FD5DC6D3-1DDC-466B-9417-C3B2FDABB22C}"/>
          </ac:spMkLst>
        </pc:spChg>
        <pc:spChg chg="mod">
          <ac:chgData name="Zhao, Fang3 /CN" userId="6d45d956-d2a8-45bc-8431-7b59b21eb9ee" providerId="ADAL" clId="{0AC62225-7380-4720-B74A-F2AB76A474AD}" dt="2022-11-12T14:33:17.851" v="53" actId="13926"/>
          <ac:spMkLst>
            <pc:docMk/>
            <pc:sldMk cId="316317293" sldId="2113690350"/>
            <ac:spMk id="85" creationId="{30B1E6D1-CD8B-4011-BCB5-F7CF796FD80C}"/>
          </ac:spMkLst>
        </pc:spChg>
        <pc:spChg chg="del">
          <ac:chgData name="Zhao, Fang3 /CN" userId="6d45d956-d2a8-45bc-8431-7b59b21eb9ee" providerId="ADAL" clId="{0AC62225-7380-4720-B74A-F2AB76A474AD}" dt="2022-11-12T14:33:09.164" v="51" actId="478"/>
          <ac:spMkLst>
            <pc:docMk/>
            <pc:sldMk cId="316317293" sldId="2113690350"/>
            <ac:spMk id="88" creationId="{0794C1F9-3437-44E0-B744-36D21BA84523}"/>
          </ac:spMkLst>
        </pc:spChg>
        <pc:spChg chg="del">
          <ac:chgData name="Zhao, Fang3 /CN" userId="6d45d956-d2a8-45bc-8431-7b59b21eb9ee" providerId="ADAL" clId="{0AC62225-7380-4720-B74A-F2AB76A474AD}" dt="2022-11-12T14:33:13.150" v="52" actId="478"/>
          <ac:spMkLst>
            <pc:docMk/>
            <pc:sldMk cId="316317293" sldId="2113690350"/>
            <ac:spMk id="89" creationId="{C772351B-6BB5-4732-B3CC-6D8EC51F854C}"/>
          </ac:spMkLst>
        </pc:spChg>
        <pc:spChg chg="mod">
          <ac:chgData name="Zhao, Fang3 /CN" userId="6d45d956-d2a8-45bc-8431-7b59b21eb9ee" providerId="ADAL" clId="{0AC62225-7380-4720-B74A-F2AB76A474AD}" dt="2022-11-12T14:33:17.851" v="53" actId="13926"/>
          <ac:spMkLst>
            <pc:docMk/>
            <pc:sldMk cId="316317293" sldId="2113690350"/>
            <ac:spMk id="93" creationId="{85FC53BB-CA77-44B0-A50B-E394D011131D}"/>
          </ac:spMkLst>
        </pc:spChg>
        <pc:spChg chg="mod">
          <ac:chgData name="Zhao, Fang3 /CN" userId="6d45d956-d2a8-45bc-8431-7b59b21eb9ee" providerId="ADAL" clId="{0AC62225-7380-4720-B74A-F2AB76A474AD}" dt="2022-11-12T14:33:17.851" v="53" actId="13926"/>
          <ac:spMkLst>
            <pc:docMk/>
            <pc:sldMk cId="316317293" sldId="2113690350"/>
            <ac:spMk id="94" creationId="{690FC4E6-0C18-47AF-9533-363EE0C06CCF}"/>
          </ac:spMkLst>
        </pc:spChg>
        <pc:spChg chg="mod">
          <ac:chgData name="Zhao, Fang3 /CN" userId="6d45d956-d2a8-45bc-8431-7b59b21eb9ee" providerId="ADAL" clId="{0AC62225-7380-4720-B74A-F2AB76A474AD}" dt="2022-11-12T14:33:17.851" v="53" actId="13926"/>
          <ac:spMkLst>
            <pc:docMk/>
            <pc:sldMk cId="316317293" sldId="2113690350"/>
            <ac:spMk id="96" creationId="{E20FBDC0-4BD4-4379-AA00-E1827C747BD1}"/>
          </ac:spMkLst>
        </pc:spChg>
        <pc:spChg chg="mod">
          <ac:chgData name="Zhao, Fang3 /CN" userId="6d45d956-d2a8-45bc-8431-7b59b21eb9ee" providerId="ADAL" clId="{0AC62225-7380-4720-B74A-F2AB76A474AD}" dt="2022-11-12T14:33:17.851" v="53" actId="13926"/>
          <ac:spMkLst>
            <pc:docMk/>
            <pc:sldMk cId="316317293" sldId="2113690350"/>
            <ac:spMk id="97" creationId="{B32098E5-F077-4B51-8506-6D3590F2499E}"/>
          </ac:spMkLst>
        </pc:spChg>
        <pc:spChg chg="mod">
          <ac:chgData name="Zhao, Fang3 /CN" userId="6d45d956-d2a8-45bc-8431-7b59b21eb9ee" providerId="ADAL" clId="{0AC62225-7380-4720-B74A-F2AB76A474AD}" dt="2022-11-12T14:33:17.851" v="53" actId="13926"/>
          <ac:spMkLst>
            <pc:docMk/>
            <pc:sldMk cId="316317293" sldId="2113690350"/>
            <ac:spMk id="99" creationId="{DCD10703-C4A2-4DBB-891E-BFC5AE315690}"/>
          </ac:spMkLst>
        </pc:spChg>
        <pc:spChg chg="mod">
          <ac:chgData name="Zhao, Fang3 /CN" userId="6d45d956-d2a8-45bc-8431-7b59b21eb9ee" providerId="ADAL" clId="{0AC62225-7380-4720-B74A-F2AB76A474AD}" dt="2022-11-12T14:33:17.851" v="53" actId="13926"/>
          <ac:spMkLst>
            <pc:docMk/>
            <pc:sldMk cId="316317293" sldId="2113690350"/>
            <ac:spMk id="102" creationId="{B6FCCDE3-FC4D-4F93-BE17-001DAEBA46F2}"/>
          </ac:spMkLst>
        </pc:spChg>
        <pc:spChg chg="mod">
          <ac:chgData name="Zhao, Fang3 /CN" userId="6d45d956-d2a8-45bc-8431-7b59b21eb9ee" providerId="ADAL" clId="{0AC62225-7380-4720-B74A-F2AB76A474AD}" dt="2022-11-12T14:33:17.851" v="53" actId="13926"/>
          <ac:spMkLst>
            <pc:docMk/>
            <pc:sldMk cId="316317293" sldId="2113690350"/>
            <ac:spMk id="106" creationId="{F55D46B8-2490-43D3-BC2B-36DC61B28D70}"/>
          </ac:spMkLst>
        </pc:spChg>
        <pc:spChg chg="mod">
          <ac:chgData name="Zhao, Fang3 /CN" userId="6d45d956-d2a8-45bc-8431-7b59b21eb9ee" providerId="ADAL" clId="{0AC62225-7380-4720-B74A-F2AB76A474AD}" dt="2022-11-12T14:33:17.851" v="53" actId="13926"/>
          <ac:spMkLst>
            <pc:docMk/>
            <pc:sldMk cId="316317293" sldId="2113690350"/>
            <ac:spMk id="107" creationId="{92617421-BCB0-4006-A28B-12F4417A9E4A}"/>
          </ac:spMkLst>
        </pc:spChg>
        <pc:spChg chg="mod">
          <ac:chgData name="Zhao, Fang3 /CN" userId="6d45d956-d2a8-45bc-8431-7b59b21eb9ee" providerId="ADAL" clId="{0AC62225-7380-4720-B74A-F2AB76A474AD}" dt="2022-11-12T14:33:17.851" v="53" actId="13926"/>
          <ac:spMkLst>
            <pc:docMk/>
            <pc:sldMk cId="316317293" sldId="2113690350"/>
            <ac:spMk id="108" creationId="{202807D1-6F4D-4DE3-B902-638B472D4372}"/>
          </ac:spMkLst>
        </pc:spChg>
        <pc:spChg chg="mod">
          <ac:chgData name="Zhao, Fang3 /CN" userId="6d45d956-d2a8-45bc-8431-7b59b21eb9ee" providerId="ADAL" clId="{0AC62225-7380-4720-B74A-F2AB76A474AD}" dt="2022-11-12T14:33:17.851" v="53" actId="13926"/>
          <ac:spMkLst>
            <pc:docMk/>
            <pc:sldMk cId="316317293" sldId="2113690350"/>
            <ac:spMk id="109" creationId="{A40F4157-65B3-478A-9A05-A9DA1236EE08}"/>
          </ac:spMkLst>
        </pc:spChg>
        <pc:spChg chg="del">
          <ac:chgData name="Zhao, Fang3 /CN" userId="6d45d956-d2a8-45bc-8431-7b59b21eb9ee" providerId="ADAL" clId="{0AC62225-7380-4720-B74A-F2AB76A474AD}" dt="2022-11-12T14:33:07.436" v="50" actId="478"/>
          <ac:spMkLst>
            <pc:docMk/>
            <pc:sldMk cId="316317293" sldId="2113690350"/>
            <ac:spMk id="110" creationId="{4A35AEB4-9716-4E0B-9FD5-A79D1B07CCEA}"/>
          </ac:spMkLst>
        </pc:spChg>
        <pc:spChg chg="mod">
          <ac:chgData name="Zhao, Fang3 /CN" userId="6d45d956-d2a8-45bc-8431-7b59b21eb9ee" providerId="ADAL" clId="{0AC62225-7380-4720-B74A-F2AB76A474AD}" dt="2022-11-12T14:33:17.851" v="53" actId="13926"/>
          <ac:spMkLst>
            <pc:docMk/>
            <pc:sldMk cId="316317293" sldId="2113690350"/>
            <ac:spMk id="112" creationId="{ADA9FB44-5796-4C8A-BE3C-F60F1BFE4D80}"/>
          </ac:spMkLst>
        </pc:spChg>
        <pc:spChg chg="mod">
          <ac:chgData name="Zhao, Fang3 /CN" userId="6d45d956-d2a8-45bc-8431-7b59b21eb9ee" providerId="ADAL" clId="{0AC62225-7380-4720-B74A-F2AB76A474AD}" dt="2022-11-12T14:33:17.851" v="53" actId="13926"/>
          <ac:spMkLst>
            <pc:docMk/>
            <pc:sldMk cId="316317293" sldId="2113690350"/>
            <ac:spMk id="113" creationId="{0C1BFCD7-15D0-470F-B354-B9E68F19643C}"/>
          </ac:spMkLst>
        </pc:spChg>
        <pc:spChg chg="mod">
          <ac:chgData name="Zhao, Fang3 /CN" userId="6d45d956-d2a8-45bc-8431-7b59b21eb9ee" providerId="ADAL" clId="{0AC62225-7380-4720-B74A-F2AB76A474AD}" dt="2022-11-12T14:33:17.851" v="53" actId="13926"/>
          <ac:spMkLst>
            <pc:docMk/>
            <pc:sldMk cId="316317293" sldId="2113690350"/>
            <ac:spMk id="121" creationId="{2E7020C3-18EA-4345-859A-9E498CEE7ED7}"/>
          </ac:spMkLst>
        </pc:spChg>
        <pc:spChg chg="mod">
          <ac:chgData name="Zhao, Fang3 /CN" userId="6d45d956-d2a8-45bc-8431-7b59b21eb9ee" providerId="ADAL" clId="{0AC62225-7380-4720-B74A-F2AB76A474AD}" dt="2022-11-12T14:33:17.851" v="53" actId="13926"/>
          <ac:spMkLst>
            <pc:docMk/>
            <pc:sldMk cId="316317293" sldId="2113690350"/>
            <ac:spMk id="149" creationId="{2B6CACD4-5017-4879-A055-247FD0F68677}"/>
          </ac:spMkLst>
        </pc:spChg>
        <pc:picChg chg="mod">
          <ac:chgData name="Zhao, Fang3 /CN" userId="6d45d956-d2a8-45bc-8431-7b59b21eb9ee" providerId="ADAL" clId="{0AC62225-7380-4720-B74A-F2AB76A474AD}" dt="2022-11-13T06:09:54.887" v="578" actId="1076"/>
          <ac:picMkLst>
            <pc:docMk/>
            <pc:sldMk cId="316317293" sldId="2113690350"/>
            <ac:picMk id="64" creationId="{80D30FF6-9025-4CEC-A4F6-AA47CFBEA609}"/>
          </ac:picMkLst>
        </pc:picChg>
      </pc:sldChg>
      <pc:sldChg chg="addSp delSp modSp mod">
        <pc:chgData name="Zhao, Fang3 /CN" userId="6d45d956-d2a8-45bc-8431-7b59b21eb9ee" providerId="ADAL" clId="{0AC62225-7380-4720-B74A-F2AB76A474AD}" dt="2022-11-12T14:32:37.424" v="45" actId="1076"/>
        <pc:sldMkLst>
          <pc:docMk/>
          <pc:sldMk cId="3395827605" sldId="2113690377"/>
        </pc:sldMkLst>
        <pc:spChg chg="mod">
          <ac:chgData name="Zhao, Fang3 /CN" userId="6d45d956-d2a8-45bc-8431-7b59b21eb9ee" providerId="ADAL" clId="{0AC62225-7380-4720-B74A-F2AB76A474AD}" dt="2022-11-12T14:32:37.424" v="45" actId="1076"/>
          <ac:spMkLst>
            <pc:docMk/>
            <pc:sldMk cId="3395827605" sldId="2113690377"/>
            <ac:spMk id="10" creationId="{9FDC68E0-391C-4FF1-8232-2A629BEB86A2}"/>
          </ac:spMkLst>
        </pc:spChg>
        <pc:picChg chg="add mod modCrop">
          <ac:chgData name="Zhao, Fang3 /CN" userId="6d45d956-d2a8-45bc-8431-7b59b21eb9ee" providerId="ADAL" clId="{0AC62225-7380-4720-B74A-F2AB76A474AD}" dt="2022-11-12T14:32:08.809" v="18" actId="1076"/>
          <ac:picMkLst>
            <pc:docMk/>
            <pc:sldMk cId="3395827605" sldId="2113690377"/>
            <ac:picMk id="3" creationId="{0944FC12-097B-4884-BA86-774A1C65F95D}"/>
          </ac:picMkLst>
        </pc:picChg>
        <pc:picChg chg="mod modCrop">
          <ac:chgData name="Zhao, Fang3 /CN" userId="6d45d956-d2a8-45bc-8431-7b59b21eb9ee" providerId="ADAL" clId="{0AC62225-7380-4720-B74A-F2AB76A474AD}" dt="2022-11-12T14:30:47.216" v="10" actId="14100"/>
          <ac:picMkLst>
            <pc:docMk/>
            <pc:sldMk cId="3395827605" sldId="2113690377"/>
            <ac:picMk id="8" creationId="{B911B050-BE9F-4F41-B32B-778E952C683E}"/>
          </ac:picMkLst>
        </pc:picChg>
        <pc:picChg chg="del mod">
          <ac:chgData name="Zhao, Fang3 /CN" userId="6d45d956-d2a8-45bc-8431-7b59b21eb9ee" providerId="ADAL" clId="{0AC62225-7380-4720-B74A-F2AB76A474AD}" dt="2022-11-12T14:31:50.193" v="12" actId="478"/>
          <ac:picMkLst>
            <pc:docMk/>
            <pc:sldMk cId="3395827605" sldId="2113690377"/>
            <ac:picMk id="9" creationId="{A26E76A1-3E07-4C5A-A501-01F8F349751B}"/>
          </ac:picMkLst>
        </pc:picChg>
      </pc:sldChg>
      <pc:sldChg chg="addSp modSp mod">
        <pc:chgData name="Zhao, Fang3 /CN" userId="6d45d956-d2a8-45bc-8431-7b59b21eb9ee" providerId="ADAL" clId="{0AC62225-7380-4720-B74A-F2AB76A474AD}" dt="2022-11-12T14:46:37.116" v="239" actId="1076"/>
        <pc:sldMkLst>
          <pc:docMk/>
          <pc:sldMk cId="647020187" sldId="2113690378"/>
        </pc:sldMkLst>
        <pc:spChg chg="mod">
          <ac:chgData name="Zhao, Fang3 /CN" userId="6d45d956-d2a8-45bc-8431-7b59b21eb9ee" providerId="ADAL" clId="{0AC62225-7380-4720-B74A-F2AB76A474AD}" dt="2022-11-12T14:46:37.116" v="239" actId="1076"/>
          <ac:spMkLst>
            <pc:docMk/>
            <pc:sldMk cId="647020187" sldId="2113690378"/>
            <ac:spMk id="7" creationId="{AF7121DF-2DF1-48D2-A98C-48ED6FAE5EA5}"/>
          </ac:spMkLst>
        </pc:spChg>
        <pc:spChg chg="add mod">
          <ac:chgData name="Zhao, Fang3 /CN" userId="6d45d956-d2a8-45bc-8431-7b59b21eb9ee" providerId="ADAL" clId="{0AC62225-7380-4720-B74A-F2AB76A474AD}" dt="2022-11-12T14:42:54.847" v="229" actId="1076"/>
          <ac:spMkLst>
            <pc:docMk/>
            <pc:sldMk cId="647020187" sldId="2113690378"/>
            <ac:spMk id="8" creationId="{022DE1AA-C052-4F58-9CBA-F1B5EBF3EA09}"/>
          </ac:spMkLst>
        </pc:spChg>
        <pc:graphicFrameChg chg="mod modGraphic">
          <ac:chgData name="Zhao, Fang3 /CN" userId="6d45d956-d2a8-45bc-8431-7b59b21eb9ee" providerId="ADAL" clId="{0AC62225-7380-4720-B74A-F2AB76A474AD}" dt="2022-11-12T14:46:27.715" v="238" actId="20577"/>
          <ac:graphicFrameMkLst>
            <pc:docMk/>
            <pc:sldMk cId="647020187" sldId="2113690378"/>
            <ac:graphicFrameMk id="10" creationId="{E5504E66-9750-4F62-95C6-9675322207DD}"/>
          </ac:graphicFrameMkLst>
        </pc:graphicFrameChg>
      </pc:sldChg>
      <pc:sldChg chg="modSp mod">
        <pc:chgData name="Zhao, Fang3 /CN" userId="6d45d956-d2a8-45bc-8431-7b59b21eb9ee" providerId="ADAL" clId="{0AC62225-7380-4720-B74A-F2AB76A474AD}" dt="2022-11-12T14:43:41.135" v="237" actId="2085"/>
        <pc:sldMkLst>
          <pc:docMk/>
          <pc:sldMk cId="755259115" sldId="2113690379"/>
        </pc:sldMkLst>
        <pc:spChg chg="mod">
          <ac:chgData name="Zhao, Fang3 /CN" userId="6d45d956-d2a8-45bc-8431-7b59b21eb9ee" providerId="ADAL" clId="{0AC62225-7380-4720-B74A-F2AB76A474AD}" dt="2022-11-12T14:43:41.135" v="237" actId="2085"/>
          <ac:spMkLst>
            <pc:docMk/>
            <pc:sldMk cId="755259115" sldId="2113690379"/>
            <ac:spMk id="3" creationId="{C769B81E-5A4A-402C-904C-2C0246892D3D}"/>
          </ac:spMkLst>
        </pc:spChg>
        <pc:spChg chg="mod">
          <ac:chgData name="Zhao, Fang3 /CN" userId="6d45d956-d2a8-45bc-8431-7b59b21eb9ee" providerId="ADAL" clId="{0AC62225-7380-4720-B74A-F2AB76A474AD}" dt="2022-11-12T14:43:16.104" v="233" actId="1076"/>
          <ac:spMkLst>
            <pc:docMk/>
            <pc:sldMk cId="755259115" sldId="2113690379"/>
            <ac:spMk id="5" creationId="{6B60E552-4436-45FA-81E1-5D8879467ED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fld id="{75E5DDF9-395F-4C9C-96F3-D9A7943FF236}" type="datetimeFigureOut">
              <a:rPr lang="zh-CN" altLang="en-US" smtClean="0"/>
              <a:pPr/>
              <a:t>2022/11/13</a:t>
            </a:fld>
            <a:endParaRPr lang="zh-CN" alt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fld id="{E31292BD-B757-4CB3-A56B-3C6D4794597D}" type="slidenum">
              <a:rPr lang="zh-CN" altLang="en-US" smtClean="0"/>
              <a:pPr/>
              <a:t>‹#›</a:t>
            </a:fld>
            <a:endParaRPr lang="zh-CN" altLang="en-US"/>
          </a:p>
        </p:txBody>
      </p:sp>
    </p:spTree>
    <p:extLst>
      <p:ext uri="{BB962C8B-B14F-4D97-AF65-F5344CB8AC3E}">
        <p14:creationId xmlns:p14="http://schemas.microsoft.com/office/powerpoint/2010/main" val="1679894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sym typeface="微软雅黑" panose="020B0503020204020204" pitchFamily="34" charset="-122"/>
      </a:defRPr>
    </a:lvl1pPr>
    <a:lvl2pPr marL="4572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sym typeface="微软雅黑" panose="020B0503020204020204" pitchFamily="34" charset="-122"/>
      </a:defRPr>
    </a:lvl2pPr>
    <a:lvl3pPr marL="9144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sym typeface="微软雅黑" panose="020B0503020204020204" pitchFamily="34" charset="-122"/>
      </a:defRPr>
    </a:lvl3pPr>
    <a:lvl4pPr marL="13716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sym typeface="微软雅黑" panose="020B0503020204020204" pitchFamily="34" charset="-122"/>
      </a:defRPr>
    </a:lvl4pPr>
    <a:lvl5pPr marL="18288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sym typeface="微软雅黑" panose="020B0503020204020204" pitchFamily="34" charset="-122"/>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1</a:t>
            </a:fld>
            <a:endParaRPr lang="zh-CN" altLang="en-US"/>
          </a:p>
        </p:txBody>
      </p:sp>
    </p:spTree>
    <p:extLst>
      <p:ext uri="{BB962C8B-B14F-4D97-AF65-F5344CB8AC3E}">
        <p14:creationId xmlns:p14="http://schemas.microsoft.com/office/powerpoint/2010/main" val="227248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31292BD-B757-4CB3-A56B-3C6D4794597D}" type="slidenum">
              <a:rPr lang="zh-CN" altLang="en-US" smtClean="0"/>
              <a:t>10</a:t>
            </a:fld>
            <a:endParaRPr lang="zh-CN" altLang="en-US"/>
          </a:p>
        </p:txBody>
      </p:sp>
    </p:spTree>
    <p:extLst>
      <p:ext uri="{BB962C8B-B14F-4D97-AF65-F5344CB8AC3E}">
        <p14:creationId xmlns:p14="http://schemas.microsoft.com/office/powerpoint/2010/main" val="2064658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11</a:t>
            </a:fld>
            <a:endParaRPr lang="zh-CN" altLang="en-US"/>
          </a:p>
        </p:txBody>
      </p:sp>
    </p:spTree>
    <p:extLst>
      <p:ext uri="{BB962C8B-B14F-4D97-AF65-F5344CB8AC3E}">
        <p14:creationId xmlns:p14="http://schemas.microsoft.com/office/powerpoint/2010/main" val="3139958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4AB0-DA56-AC40-9592-4E955E6D4581}" type="slidenum">
              <a:rPr kumimoji="0" lang="en-US" sz="1000" b="0" i="0" u="none" strike="noStrike" kern="1200" cap="none" spc="0" normalizeH="0" baseline="0" noProof="0" smtClean="0">
                <a:ln>
                  <a:noFill/>
                </a:ln>
                <a:solidFill>
                  <a:srgbClr val="33333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333333"/>
              </a:solidFill>
              <a:effectLst/>
              <a:uLnTx/>
              <a:uFillTx/>
            </a:endParaRPr>
          </a:p>
        </p:txBody>
      </p:sp>
      <p:sp>
        <p:nvSpPr>
          <p:cNvPr id="5" name="Header Placeholder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93020D-DF25-481C-A2F7-EEA0511B31BA}" type="datetime1">
              <a:rPr kumimoji="0" lang="en-US" sz="1000" b="0" i="0" u="none" strike="noStrike" kern="1200" cap="none" spc="0" normalizeH="0" baseline="0" noProof="0" smtClean="0">
                <a:ln>
                  <a:noFill/>
                </a:ln>
                <a:solidFill>
                  <a:srgbClr val="333333"/>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1/13/2022</a:t>
            </a:fld>
            <a:endParaRPr kumimoji="0" lang="en-US" sz="1000" b="0" i="0" u="none" strike="noStrike" kern="1200" cap="none" spc="0" normalizeH="0" baseline="0" noProof="0" dirty="0">
              <a:ln>
                <a:noFill/>
              </a:ln>
              <a:solidFill>
                <a:srgbClr val="333333"/>
              </a:solidFill>
              <a:effectLst/>
              <a:uLnTx/>
              <a:uFillTx/>
            </a:endParaRPr>
          </a:p>
        </p:txBody>
      </p:sp>
      <p:sp>
        <p:nvSpPr>
          <p:cNvPr id="10" name="Slide Image Placeholder 9"/>
          <p:cNvSpPr>
            <a:spLocks noGrp="1" noRot="1" noChangeAspect="1"/>
          </p:cNvSpPr>
          <p:nvPr>
            <p:ph type="sldImg"/>
          </p:nvPr>
        </p:nvSpPr>
        <p:spPr>
          <a:xfrm>
            <a:off x="3295650" y="6577013"/>
            <a:ext cx="3613150" cy="2033587"/>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8948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60C9BB80-EC73-40F0-9238-EB9801B98814}" type="slidenum">
              <a:rPr lang="zh-CN" altLang="en-US" smtClean="0"/>
              <a:t>14</a:t>
            </a:fld>
            <a:endParaRPr lang="zh-CN" altLang="en-US"/>
          </a:p>
        </p:txBody>
      </p:sp>
    </p:spTree>
    <p:extLst>
      <p:ext uri="{BB962C8B-B14F-4D97-AF65-F5344CB8AC3E}">
        <p14:creationId xmlns:p14="http://schemas.microsoft.com/office/powerpoint/2010/main" val="2724194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292BD-B757-4CB3-A56B-3C6D4794597D}" type="slidenum">
              <a:rPr kumimoji="0" lang="zh-CN" alt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221037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16</a:t>
            </a:fld>
            <a:endParaRPr lang="zh-CN" altLang="en-US"/>
          </a:p>
        </p:txBody>
      </p:sp>
    </p:spTree>
    <p:extLst>
      <p:ext uri="{BB962C8B-B14F-4D97-AF65-F5344CB8AC3E}">
        <p14:creationId xmlns:p14="http://schemas.microsoft.com/office/powerpoint/2010/main" val="1784971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17</a:t>
            </a:fld>
            <a:endParaRPr lang="zh-CN" altLang="en-US"/>
          </a:p>
        </p:txBody>
      </p:sp>
    </p:spTree>
    <p:extLst>
      <p:ext uri="{BB962C8B-B14F-4D97-AF65-F5344CB8AC3E}">
        <p14:creationId xmlns:p14="http://schemas.microsoft.com/office/powerpoint/2010/main" val="3173319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1292BD-B757-4CB3-A56B-3C6D4794597D}" type="slidenum">
              <a:rPr lang="zh-CN" altLang="en-US" smtClean="0"/>
              <a:t>18</a:t>
            </a:fld>
            <a:endParaRPr lang="zh-CN" altLang="en-US"/>
          </a:p>
        </p:txBody>
      </p:sp>
    </p:spTree>
    <p:extLst>
      <p:ext uri="{BB962C8B-B14F-4D97-AF65-F5344CB8AC3E}">
        <p14:creationId xmlns:p14="http://schemas.microsoft.com/office/powerpoint/2010/main" val="3889074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19</a:t>
            </a:fld>
            <a:endParaRPr lang="zh-CN" altLang="en-US"/>
          </a:p>
        </p:txBody>
      </p:sp>
    </p:spTree>
    <p:extLst>
      <p:ext uri="{BB962C8B-B14F-4D97-AF65-F5344CB8AC3E}">
        <p14:creationId xmlns:p14="http://schemas.microsoft.com/office/powerpoint/2010/main" val="2684831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4AB0-DA56-AC40-9592-4E955E6D4581}" type="slidenum">
              <a:rPr kumimoji="0" lang="en-US" sz="1000" b="0" i="0" u="none" strike="noStrike" kern="1200" cap="none" spc="0" normalizeH="0" baseline="0" noProof="0" smtClean="0">
                <a:ln>
                  <a:noFill/>
                </a:ln>
                <a:solidFill>
                  <a:srgbClr val="33333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333333"/>
              </a:solidFill>
              <a:effectLst/>
              <a:uLnTx/>
              <a:uFillTx/>
            </a:endParaRPr>
          </a:p>
        </p:txBody>
      </p:sp>
      <p:sp>
        <p:nvSpPr>
          <p:cNvPr id="5" name="Header Placeholder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93020D-DF25-481C-A2F7-EEA0511B31BA}" type="datetime1">
              <a:rPr kumimoji="0" lang="en-US" sz="1000" b="0" i="0" u="none" strike="noStrike" kern="1200" cap="none" spc="0" normalizeH="0" baseline="0" noProof="0" smtClean="0">
                <a:ln>
                  <a:noFill/>
                </a:ln>
                <a:solidFill>
                  <a:srgbClr val="333333"/>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1/13/2022</a:t>
            </a:fld>
            <a:endParaRPr kumimoji="0" lang="en-US" sz="1000" b="0" i="0" u="none" strike="noStrike" kern="1200" cap="none" spc="0" normalizeH="0" baseline="0" noProof="0" dirty="0">
              <a:ln>
                <a:noFill/>
              </a:ln>
              <a:solidFill>
                <a:srgbClr val="333333"/>
              </a:solidFill>
              <a:effectLst/>
              <a:uLnTx/>
              <a:uFillTx/>
            </a:endParaRPr>
          </a:p>
        </p:txBody>
      </p:sp>
      <p:sp>
        <p:nvSpPr>
          <p:cNvPr id="10" name="Slide Image Placeholder 9"/>
          <p:cNvSpPr>
            <a:spLocks noGrp="1" noRot="1" noChangeAspect="1"/>
          </p:cNvSpPr>
          <p:nvPr>
            <p:ph type="sldImg"/>
          </p:nvPr>
        </p:nvSpPr>
        <p:spPr>
          <a:xfrm>
            <a:off x="3295650" y="6577013"/>
            <a:ext cx="3613150" cy="2033587"/>
          </a:xfrm>
        </p:spPr>
      </p:sp>
      <p:sp>
        <p:nvSpPr>
          <p:cNvPr id="11" name="Notes Placeholder 10"/>
          <p:cNvSpPr>
            <a:spLocks noGrp="1"/>
          </p:cNvSpPr>
          <p:nvPr>
            <p:ph type="body" idx="1"/>
          </p:nvPr>
        </p:nvSpPr>
        <p:spPr/>
        <p:txBody>
          <a:bodyPr/>
          <a:lstStyle/>
          <a:p>
            <a:r>
              <a:rPr lang="zh-CN" altLang="en-US" dirty="0"/>
              <a:t>加入网站、公众号的宣传</a:t>
            </a:r>
            <a:r>
              <a:rPr lang="zh-CN" altLang="en-US"/>
              <a:t>、颁奖、网站情况</a:t>
            </a:r>
            <a:endParaRPr lang="en-US" dirty="0"/>
          </a:p>
        </p:txBody>
      </p:sp>
    </p:spTree>
    <p:extLst>
      <p:ext uri="{BB962C8B-B14F-4D97-AF65-F5344CB8AC3E}">
        <p14:creationId xmlns:p14="http://schemas.microsoft.com/office/powerpoint/2010/main" val="3955460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31292BD-B757-4CB3-A56B-3C6D4794597D}" type="slidenum">
              <a:rPr lang="zh-CN" altLang="en-US" smtClean="0"/>
              <a:t>3</a:t>
            </a:fld>
            <a:endParaRPr lang="zh-CN" altLang="en-US"/>
          </a:p>
        </p:txBody>
      </p:sp>
    </p:spTree>
    <p:extLst>
      <p:ext uri="{BB962C8B-B14F-4D97-AF65-F5344CB8AC3E}">
        <p14:creationId xmlns:p14="http://schemas.microsoft.com/office/powerpoint/2010/main" val="1019342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4</a:t>
            </a:fld>
            <a:endParaRPr lang="zh-CN" altLang="en-US"/>
          </a:p>
        </p:txBody>
      </p:sp>
    </p:spTree>
    <p:extLst>
      <p:ext uri="{BB962C8B-B14F-4D97-AF65-F5344CB8AC3E}">
        <p14:creationId xmlns:p14="http://schemas.microsoft.com/office/powerpoint/2010/main" val="3706154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r>
              <a:rPr lang="en-US" altLang="zh-CN" dirty="0"/>
              <a:t>revise</a:t>
            </a:r>
            <a:endParaRPr lang="zh-CN" altLang="en-US" dirty="0"/>
          </a:p>
        </p:txBody>
      </p:sp>
      <p:sp>
        <p:nvSpPr>
          <p:cNvPr id="4" name="Slide Number Placeholder 3"/>
          <p:cNvSpPr>
            <a:spLocks noGrp="1"/>
          </p:cNvSpPr>
          <p:nvPr>
            <p:ph type="sldNum" sz="quarter" idx="5"/>
          </p:nvPr>
        </p:nvSpPr>
        <p:spPr/>
        <p:txBody>
          <a:bodyPr/>
          <a:lstStyle/>
          <a:p>
            <a:fld id="{E31292BD-B757-4CB3-A56B-3C6D4794597D}" type="slidenum">
              <a:rPr lang="zh-CN" altLang="en-US" smtClean="0"/>
              <a:t>5</a:t>
            </a:fld>
            <a:endParaRPr lang="zh-CN" altLang="en-US"/>
          </a:p>
        </p:txBody>
      </p:sp>
    </p:spTree>
    <p:extLst>
      <p:ext uri="{BB962C8B-B14F-4D97-AF65-F5344CB8AC3E}">
        <p14:creationId xmlns:p14="http://schemas.microsoft.com/office/powerpoint/2010/main" val="750901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6</a:t>
            </a:fld>
            <a:endParaRPr lang="zh-CN" altLang="en-US"/>
          </a:p>
        </p:txBody>
      </p:sp>
    </p:spTree>
    <p:extLst>
      <p:ext uri="{BB962C8B-B14F-4D97-AF65-F5344CB8AC3E}">
        <p14:creationId xmlns:p14="http://schemas.microsoft.com/office/powerpoint/2010/main" val="4125798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31292BD-B757-4CB3-A56B-3C6D4794597D}" type="slidenum">
              <a:rPr lang="zh-CN" altLang="en-US" smtClean="0"/>
              <a:t>7</a:t>
            </a:fld>
            <a:endParaRPr lang="zh-CN" altLang="en-US"/>
          </a:p>
        </p:txBody>
      </p:sp>
    </p:spTree>
    <p:extLst>
      <p:ext uri="{BB962C8B-B14F-4D97-AF65-F5344CB8AC3E}">
        <p14:creationId xmlns:p14="http://schemas.microsoft.com/office/powerpoint/2010/main" val="3240415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4AB0-DA56-AC40-9592-4E955E6D4581}" type="slidenum">
              <a:rPr kumimoji="0" lang="en-US" sz="1000" b="0" i="0" u="none" strike="noStrike" kern="1200" cap="none" spc="0" normalizeH="0" baseline="0" noProof="0" smtClean="0">
                <a:ln>
                  <a:noFill/>
                </a:ln>
                <a:solidFill>
                  <a:srgbClr val="33333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333333"/>
              </a:solidFill>
              <a:effectLst/>
              <a:uLnTx/>
              <a:uFillTx/>
            </a:endParaRPr>
          </a:p>
        </p:txBody>
      </p:sp>
      <p:sp>
        <p:nvSpPr>
          <p:cNvPr id="5" name="Header Placeholder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93020D-DF25-481C-A2F7-EEA0511B31BA}" type="datetime1">
              <a:rPr kumimoji="0" lang="en-US" sz="1000" b="0" i="0" u="none" strike="noStrike" kern="1200" cap="none" spc="0" normalizeH="0" baseline="0" noProof="0" smtClean="0">
                <a:ln>
                  <a:noFill/>
                </a:ln>
                <a:solidFill>
                  <a:srgbClr val="333333"/>
                </a:solidFill>
                <a:effectLst/>
                <a:uLnTx/>
                <a:uFillTx/>
              </a:rPr>
              <a:pPr marL="0" marR="0" lvl="0" indent="0" algn="l" defTabSz="914400" rtl="0" eaLnBrk="1" fontAlgn="auto" latinLnBrk="0" hangingPunct="1">
                <a:lnSpc>
                  <a:spcPct val="100000"/>
                </a:lnSpc>
                <a:spcBef>
                  <a:spcPts val="0"/>
                </a:spcBef>
                <a:spcAft>
                  <a:spcPts val="0"/>
                </a:spcAft>
                <a:buClrTx/>
                <a:buSzTx/>
                <a:buFontTx/>
                <a:buNone/>
                <a:tabLst/>
                <a:defRPr/>
              </a:pPr>
              <a:t>11/13/2022</a:t>
            </a:fld>
            <a:endParaRPr kumimoji="0" lang="en-US" sz="1000" b="0" i="0" u="none" strike="noStrike" kern="1200" cap="none" spc="0" normalizeH="0" baseline="0" noProof="0" dirty="0">
              <a:ln>
                <a:noFill/>
              </a:ln>
              <a:solidFill>
                <a:srgbClr val="333333"/>
              </a:solidFill>
              <a:effectLst/>
              <a:uLnTx/>
              <a:uFillTx/>
            </a:endParaRPr>
          </a:p>
        </p:txBody>
      </p:sp>
      <p:sp>
        <p:nvSpPr>
          <p:cNvPr id="10" name="Slide Image Placeholder 9"/>
          <p:cNvSpPr>
            <a:spLocks noGrp="1" noRot="1" noChangeAspect="1"/>
          </p:cNvSpPr>
          <p:nvPr>
            <p:ph type="sldImg"/>
          </p:nvPr>
        </p:nvSpPr>
        <p:spPr>
          <a:xfrm>
            <a:off x="3295650" y="6577013"/>
            <a:ext cx="3613150" cy="2033587"/>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6820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pPr marL="0" indent="0">
              <a:buNone/>
            </a:pPr>
            <a:r>
              <a:rPr lang="zh-CN" altLang="en-US" dirty="0"/>
              <a:t>加入日期</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B3A42"/>
              </a:solidFill>
              <a:effectLst/>
              <a:uLnTx/>
              <a:uFillTx/>
              <a:cs typeface="Arial"/>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1E296-9532-40C3-9174-581AD2B7748B}" type="slidenum">
              <a:rPr kumimoji="0" lang="en-US" sz="1000" b="0" i="0" u="none" strike="noStrike" kern="1200" cap="none" spc="0" normalizeH="0" baseline="0" noProof="0" smtClean="0">
                <a:ln>
                  <a:noFill/>
                </a:ln>
                <a:solidFill>
                  <a:srgbClr val="2B3A42"/>
                </a:solidFill>
                <a:effectLst/>
                <a:uLnTx/>
                <a:uFillTx/>
                <a:cs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2B3A42"/>
              </a:solidFill>
              <a:effectLst/>
              <a:uLnTx/>
              <a:uFillTx/>
              <a:cs typeface="Arial"/>
            </a:endParaRPr>
          </a:p>
        </p:txBody>
      </p:sp>
    </p:spTree>
    <p:extLst>
      <p:ext uri="{BB962C8B-B14F-4D97-AF65-F5344CB8AC3E}">
        <p14:creationId xmlns:p14="http://schemas.microsoft.com/office/powerpoint/2010/main" val="3459278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jp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C37B8900-DC9B-40AF-86F9-C9E7C873F09F}"/>
              </a:ext>
            </a:extLst>
          </p:cNvPr>
          <p:cNvGraphicFramePr>
            <a:graphicFrameLocks noChangeAspect="1"/>
          </p:cNvGraphicFramePr>
          <p:nvPr userDrawn="1">
            <p:custDataLst>
              <p:tags r:id="rId1"/>
            </p:custDataLst>
            <p:extLst>
              <p:ext uri="{D42A27DB-BD31-4B8C-83A1-F6EECF244321}">
                <p14:modId xmlns:p14="http://schemas.microsoft.com/office/powerpoint/2010/main" val="119516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7" name="对象 6" hidden="1">
                        <a:extLst>
                          <a:ext uri="{FF2B5EF4-FFF2-40B4-BE49-F238E27FC236}">
                            <a16:creationId xmlns:a16="http://schemas.microsoft.com/office/drawing/2014/main" id="{C37B8900-DC9B-40AF-86F9-C9E7C873F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p:nvPr>
        </p:nvSpPr>
        <p:spPr>
          <a:xfrm>
            <a:off x="914400" y="2125980"/>
            <a:ext cx="10363200" cy="307777"/>
          </a:xfrm>
          <a:prstGeom prst="rect">
            <a:avLst/>
          </a:prstGeom>
        </p:spPr>
        <p:txBody>
          <a:bodyPr wrap="square" lIns="0" tIns="0" rIns="0" bIns="0">
            <a:spAutoFit/>
          </a:bodyPr>
          <a:lstStyle>
            <a:lvl1pPr>
              <a:defRPr>
                <a:latin typeface="微软雅黑" panose="020B0503020204020204" pitchFamily="34" charset="-122"/>
                <a:ea typeface="微软雅黑" panose="020B0503020204020204" pitchFamily="34" charset="-122"/>
                <a:sym typeface="微软雅黑" panose="020B0503020204020204" pitchFamily="34" charset="-122"/>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atin typeface="微软雅黑" panose="020B0503020204020204" pitchFamily="34" charset="-122"/>
                <a:ea typeface="微软雅黑" panose="020B0503020204020204" pitchFamily="34" charset="-122"/>
                <a:sym typeface="微软雅黑" panose="020B0503020204020204" pitchFamily="3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pic>
        <p:nvPicPr>
          <p:cNvPr id="8" name="Picture 7">
            <a:extLst>
              <a:ext uri="{FF2B5EF4-FFF2-40B4-BE49-F238E27FC236}">
                <a16:creationId xmlns:a16="http://schemas.microsoft.com/office/drawing/2014/main" id="{9E8CB7D3-6850-455E-8D43-80D1ED71A5A8}"/>
              </a:ext>
            </a:extLst>
          </p:cNvPr>
          <p:cNvPicPr>
            <a:picLocks noChangeAspect="1"/>
          </p:cNvPicPr>
          <p:nvPr userDrawn="1"/>
        </p:nvPicPr>
        <p:blipFill>
          <a:blip r:embed="rId5"/>
          <a:stretch>
            <a:fillRect/>
          </a:stretch>
        </p:blipFill>
        <p:spPr>
          <a:xfrm>
            <a:off x="9296400" y="137161"/>
            <a:ext cx="2636763" cy="510069"/>
          </a:xfrm>
          <a:prstGeom prst="rect">
            <a:avLst/>
          </a:prstGeom>
        </p:spPr>
      </p:pic>
      <p:sp>
        <p:nvSpPr>
          <p:cNvPr id="9" name="TextBox 8">
            <a:extLst>
              <a:ext uri="{FF2B5EF4-FFF2-40B4-BE49-F238E27FC236}">
                <a16:creationId xmlns:a16="http://schemas.microsoft.com/office/drawing/2014/main" id="{E22A4F5D-BFD7-4595-A348-C0B4D1F84537}"/>
              </a:ext>
            </a:extLst>
          </p:cNvPr>
          <p:cNvSpPr txBox="1"/>
          <p:nvPr userDrawn="1"/>
        </p:nvSpPr>
        <p:spPr>
          <a:xfrm>
            <a:off x="11480317" y="438922"/>
            <a:ext cx="609600" cy="369332"/>
          </a:xfrm>
          <a:prstGeom prst="rect">
            <a:avLst/>
          </a:prstGeom>
          <a:solidFill>
            <a:schemeClr val="bg1"/>
          </a:solidFill>
        </p:spPr>
        <p:txBody>
          <a:bodyPr wrap="square" rtlCol="0">
            <a:spAutoFit/>
          </a:bodyPr>
          <a:lstStyle/>
          <a:p>
            <a:endParaRPr lang="zh-CN" altLang="en-US" sz="18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28792D80-5977-438F-9DB6-74963E10944E}"/>
              </a:ext>
            </a:extLst>
          </p:cNvPr>
          <p:cNvGraphicFramePr>
            <a:graphicFrameLocks noChangeAspect="1"/>
          </p:cNvGraphicFramePr>
          <p:nvPr userDrawn="1">
            <p:custDataLst>
              <p:tags r:id="rId1"/>
            </p:custDataLst>
            <p:extLst>
              <p:ext uri="{D42A27DB-BD31-4B8C-83A1-F6EECF244321}">
                <p14:modId xmlns:p14="http://schemas.microsoft.com/office/powerpoint/2010/main" val="14017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7" name="对象 6" hidden="1">
                        <a:extLst>
                          <a:ext uri="{FF2B5EF4-FFF2-40B4-BE49-F238E27FC236}">
                            <a16:creationId xmlns:a16="http://schemas.microsoft.com/office/drawing/2014/main" id="{28792D80-5977-438F-9DB6-74963E109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2000" b="1" i="0">
                <a:solidFill>
                  <a:srgbClr val="A9222C"/>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pic>
        <p:nvPicPr>
          <p:cNvPr id="8" name="Picture 7">
            <a:extLst>
              <a:ext uri="{FF2B5EF4-FFF2-40B4-BE49-F238E27FC236}">
                <a16:creationId xmlns:a16="http://schemas.microsoft.com/office/drawing/2014/main" id="{4E98B30F-A732-479E-8DE2-D1DE148723A6}"/>
              </a:ext>
            </a:extLst>
          </p:cNvPr>
          <p:cNvPicPr>
            <a:picLocks noChangeAspect="1"/>
          </p:cNvPicPr>
          <p:nvPr userDrawn="1"/>
        </p:nvPicPr>
        <p:blipFill>
          <a:blip r:embed="rId5"/>
          <a:stretch>
            <a:fillRect/>
          </a:stretch>
        </p:blipFill>
        <p:spPr>
          <a:xfrm>
            <a:off x="9296400" y="137161"/>
            <a:ext cx="2636763" cy="510069"/>
          </a:xfrm>
          <a:prstGeom prst="rect">
            <a:avLst/>
          </a:prstGeom>
        </p:spPr>
      </p:pic>
      <p:sp>
        <p:nvSpPr>
          <p:cNvPr id="9" name="TextBox 8">
            <a:extLst>
              <a:ext uri="{FF2B5EF4-FFF2-40B4-BE49-F238E27FC236}">
                <a16:creationId xmlns:a16="http://schemas.microsoft.com/office/drawing/2014/main" id="{B25C6058-793F-4522-8F41-5ADEEACDD235}"/>
              </a:ext>
            </a:extLst>
          </p:cNvPr>
          <p:cNvSpPr txBox="1"/>
          <p:nvPr userDrawn="1"/>
        </p:nvSpPr>
        <p:spPr>
          <a:xfrm>
            <a:off x="11480317" y="438922"/>
            <a:ext cx="609600" cy="369332"/>
          </a:xfrm>
          <a:prstGeom prst="rect">
            <a:avLst/>
          </a:prstGeom>
          <a:solidFill>
            <a:schemeClr val="bg1"/>
          </a:solidFill>
        </p:spPr>
        <p:txBody>
          <a:bodyPr wrap="square" rtlCol="0">
            <a:spAutoFit/>
          </a:bodyPr>
          <a:lstStyle/>
          <a:p>
            <a:endParaRPr lang="zh-CN" altLang="en-US" sz="18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BE51E46F-3566-4407-A092-1CCE711711AF}"/>
              </a:ext>
            </a:extLst>
          </p:cNvPr>
          <p:cNvGraphicFramePr>
            <a:graphicFrameLocks noChangeAspect="1"/>
          </p:cNvGraphicFramePr>
          <p:nvPr userDrawn="1">
            <p:custDataLst>
              <p:tags r:id="rId1"/>
            </p:custDataLst>
            <p:extLst>
              <p:ext uri="{D42A27DB-BD31-4B8C-83A1-F6EECF244321}">
                <p14:modId xmlns:p14="http://schemas.microsoft.com/office/powerpoint/2010/main" val="3664437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10" name="对象 9" hidden="1">
                        <a:extLst>
                          <a:ext uri="{FF2B5EF4-FFF2-40B4-BE49-F238E27FC236}">
                            <a16:creationId xmlns:a16="http://schemas.microsoft.com/office/drawing/2014/main" id="{BE51E46F-3566-4407-A092-1CCE711711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2000" b="1" i="0">
                <a:solidFill>
                  <a:srgbClr val="A9222C"/>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a:p>
        </p:txBody>
      </p:sp>
      <p:sp>
        <p:nvSpPr>
          <p:cNvPr id="3" name="Holder 3"/>
          <p:cNvSpPr>
            <a:spLocks noGrp="1"/>
          </p:cNvSpPr>
          <p:nvPr>
            <p:ph sz="half" idx="2"/>
          </p:nvPr>
        </p:nvSpPr>
        <p:spPr>
          <a:xfrm>
            <a:off x="701040" y="2737105"/>
            <a:ext cx="5066453" cy="276999"/>
          </a:xfrm>
          <a:prstGeom prst="rect">
            <a:avLst/>
          </a:prstGeom>
        </p:spPr>
        <p:txBody>
          <a:bodyPr wrap="square" lIns="0" tIns="0" rIns="0" bIns="0">
            <a:spAutoFit/>
          </a:bodyPr>
          <a:lstStyle>
            <a:lvl1pPr>
              <a:defRPr b="0" i="0">
                <a:solidFill>
                  <a:schemeClr val="tx1"/>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a:p>
        </p:txBody>
      </p:sp>
      <p:sp>
        <p:nvSpPr>
          <p:cNvPr id="4" name="Holder 4"/>
          <p:cNvSpPr>
            <a:spLocks noGrp="1"/>
          </p:cNvSpPr>
          <p:nvPr>
            <p:ph sz="half" idx="3"/>
          </p:nvPr>
        </p:nvSpPr>
        <p:spPr>
          <a:xfrm>
            <a:off x="6610095" y="2737105"/>
            <a:ext cx="5066453" cy="276999"/>
          </a:xfrm>
          <a:prstGeom prst="rect">
            <a:avLst/>
          </a:prstGeom>
        </p:spPr>
        <p:txBody>
          <a:bodyPr wrap="square" lIns="0" tIns="0" rIns="0" bIns="0">
            <a:spAutoFit/>
          </a:bodyPr>
          <a:lstStyle>
            <a:lvl1pPr>
              <a:defRPr b="0" i="0">
                <a:solidFill>
                  <a:schemeClr val="tx1"/>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pic>
        <p:nvPicPr>
          <p:cNvPr id="8" name="Picture 7">
            <a:extLst>
              <a:ext uri="{FF2B5EF4-FFF2-40B4-BE49-F238E27FC236}">
                <a16:creationId xmlns:a16="http://schemas.microsoft.com/office/drawing/2014/main" id="{668F6D48-1727-49B0-A5B9-5CC05655DADB}"/>
              </a:ext>
            </a:extLst>
          </p:cNvPr>
          <p:cNvPicPr>
            <a:picLocks noChangeAspect="1"/>
          </p:cNvPicPr>
          <p:nvPr userDrawn="1"/>
        </p:nvPicPr>
        <p:blipFill>
          <a:blip r:embed="rId5"/>
          <a:stretch>
            <a:fillRect/>
          </a:stretch>
        </p:blipFill>
        <p:spPr>
          <a:xfrm>
            <a:off x="9296400" y="137161"/>
            <a:ext cx="2636763" cy="510069"/>
          </a:xfrm>
          <a:prstGeom prst="rect">
            <a:avLst/>
          </a:prstGeom>
        </p:spPr>
      </p:pic>
      <p:sp>
        <p:nvSpPr>
          <p:cNvPr id="9" name="TextBox 8">
            <a:extLst>
              <a:ext uri="{FF2B5EF4-FFF2-40B4-BE49-F238E27FC236}">
                <a16:creationId xmlns:a16="http://schemas.microsoft.com/office/drawing/2014/main" id="{BCDB69B7-0CCD-48E9-9957-EA2949607E01}"/>
              </a:ext>
            </a:extLst>
          </p:cNvPr>
          <p:cNvSpPr txBox="1"/>
          <p:nvPr userDrawn="1"/>
        </p:nvSpPr>
        <p:spPr>
          <a:xfrm>
            <a:off x="11480317" y="438922"/>
            <a:ext cx="609600" cy="369332"/>
          </a:xfrm>
          <a:prstGeom prst="rect">
            <a:avLst/>
          </a:prstGeom>
          <a:solidFill>
            <a:schemeClr val="bg1"/>
          </a:solidFill>
        </p:spPr>
        <p:txBody>
          <a:bodyPr wrap="square" rtlCol="0">
            <a:spAutoFit/>
          </a:bodyPr>
          <a:lstStyle/>
          <a:p>
            <a:endParaRPr lang="zh-CN" altLang="en-US" sz="1800"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1" name="bg object 16">
            <a:extLst>
              <a:ext uri="{FF2B5EF4-FFF2-40B4-BE49-F238E27FC236}">
                <a16:creationId xmlns:a16="http://schemas.microsoft.com/office/drawing/2014/main" id="{D3FE8BC2-75A5-47EB-95BF-6EDAEACCDBDD}"/>
              </a:ext>
            </a:extLst>
          </p:cNvPr>
          <p:cNvPicPr/>
          <p:nvPr userDrawn="1"/>
        </p:nvPicPr>
        <p:blipFill>
          <a:blip r:embed="rId6" cstate="print"/>
          <a:stretch>
            <a:fillRect/>
          </a:stretch>
        </p:blipFill>
        <p:spPr>
          <a:xfrm>
            <a:off x="304800" y="203061"/>
            <a:ext cx="2804160" cy="332231"/>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1653D96-ACE2-4889-B5B4-405BDA531CA3}"/>
              </a:ext>
            </a:extLst>
          </p:cNvPr>
          <p:cNvGraphicFramePr>
            <a:graphicFrameLocks noChangeAspect="1"/>
          </p:cNvGraphicFramePr>
          <p:nvPr userDrawn="1">
            <p:custDataLst>
              <p:tags r:id="rId1"/>
            </p:custDataLst>
            <p:extLst>
              <p:ext uri="{D42A27DB-BD31-4B8C-83A1-F6EECF244321}">
                <p14:modId xmlns:p14="http://schemas.microsoft.com/office/powerpoint/2010/main" val="351781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6" name="对象 5" hidden="1">
                        <a:extLst>
                          <a:ext uri="{FF2B5EF4-FFF2-40B4-BE49-F238E27FC236}">
                            <a16:creationId xmlns:a16="http://schemas.microsoft.com/office/drawing/2014/main" id="{F1653D96-ACE2-4889-B5B4-405BDA531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5" cstate="print"/>
          <a:stretch>
            <a:fillRect/>
          </a:stretch>
        </p:blipFill>
        <p:spPr>
          <a:xfrm>
            <a:off x="1" y="0"/>
            <a:ext cx="12191999" cy="5143500"/>
          </a:xfrm>
          <a:prstGeom prst="rect">
            <a:avLst/>
          </a:prstGeom>
        </p:spPr>
      </p:pic>
      <p:pic>
        <p:nvPicPr>
          <p:cNvPr id="17" name="bg object 17"/>
          <p:cNvPicPr/>
          <p:nvPr/>
        </p:nvPicPr>
        <p:blipFill>
          <a:blip r:embed="rId6" cstate="print"/>
          <a:stretch>
            <a:fillRect/>
          </a:stretch>
        </p:blipFill>
        <p:spPr>
          <a:xfrm>
            <a:off x="3167504" y="5334278"/>
            <a:ext cx="6364275" cy="827484"/>
          </a:xfrm>
          <a:prstGeom prst="rect">
            <a:avLst/>
          </a:prstGeom>
        </p:spPr>
      </p:pic>
      <p:sp>
        <p:nvSpPr>
          <p:cNvPr id="2" name="Holder 2"/>
          <p:cNvSpPr>
            <a:spLocks noGrp="1"/>
          </p:cNvSpPr>
          <p:nvPr>
            <p:ph type="title"/>
          </p:nvPr>
        </p:nvSpPr>
        <p:spPr/>
        <p:txBody>
          <a:bodyPr lIns="0" tIns="0" rIns="0" bIns="0"/>
          <a:lstStyle>
            <a:lvl1pPr>
              <a:defRPr sz="2000" b="1" i="0">
                <a:solidFill>
                  <a:srgbClr val="A9222C"/>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endParaRPr dirty="0"/>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4" name="Holder 4"/>
          <p:cNvSpPr>
            <a:spLocks noGrp="1"/>
          </p:cNvSpPr>
          <p:nvPr>
            <p:ph type="dt" sz="half" idx="6"/>
          </p:nvPr>
        </p:nvSpPr>
        <p:spPr/>
        <p:txBody>
          <a:bodyPr lIns="0" tIns="0" rIns="0" bIns="0"/>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sp>
        <p:nvSpPr>
          <p:cNvPr id="7" name="TextBox 6">
            <a:extLst>
              <a:ext uri="{FF2B5EF4-FFF2-40B4-BE49-F238E27FC236}">
                <a16:creationId xmlns:a16="http://schemas.microsoft.com/office/drawing/2014/main" id="{614FDCE0-11AA-46D1-863D-B1B5E392D9DF}"/>
              </a:ext>
            </a:extLst>
          </p:cNvPr>
          <p:cNvSpPr txBox="1"/>
          <p:nvPr userDrawn="1"/>
        </p:nvSpPr>
        <p:spPr>
          <a:xfrm>
            <a:off x="350818" y="1828800"/>
            <a:ext cx="11490363" cy="1658980"/>
          </a:xfrm>
          <a:prstGeom prst="rect">
            <a:avLst/>
          </a:prstGeom>
          <a:noFill/>
        </p:spPr>
        <p:txBody>
          <a:bodyPr wrap="square" rtlCol="0">
            <a:spAutoFit/>
          </a:bodyPr>
          <a:lstStyle/>
          <a:p>
            <a:pPr algn="ctr">
              <a:lnSpc>
                <a:spcPct val="125000"/>
              </a:lnSpc>
            </a:pPr>
            <a: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中国</a:t>
            </a:r>
            <a:r>
              <a:rPr lang="en-US" altLang="zh-CN"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2</a:t>
            </a:r>
            <a: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型炎症皮肤病临床研究与均质化诊疗项目</a:t>
            </a:r>
            <a:b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br>
            <a: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暨</a:t>
            </a:r>
            <a:r>
              <a:rPr lang="en-US" altLang="zh-CN"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2</a:t>
            </a:r>
            <a: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型炎症相关皮肤病全国协作网建设</a:t>
            </a:r>
            <a:b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br>
            <a:r>
              <a:rPr lang="zh-CN" altLang="en-US"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项目背景及协作单位认证介绍</a:t>
            </a:r>
            <a:endParaRPr lang="en-US" altLang="zh-CN" sz="2800" b="1" kern="1200" dirty="0">
              <a:solidFill>
                <a:srgbClr val="55050A"/>
              </a:solidFill>
              <a:effectLst/>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B83D78F-1A52-4E00-AFC5-3C3DFA92B1B5}"/>
              </a:ext>
            </a:extLst>
          </p:cNvPr>
          <p:cNvGraphicFramePr>
            <a:graphicFrameLocks noChangeAspect="1"/>
          </p:cNvGraphicFramePr>
          <p:nvPr userDrawn="1">
            <p:custDataLst>
              <p:tags r:id="rId1"/>
            </p:custDataLst>
            <p:extLst>
              <p:ext uri="{D42A27DB-BD31-4B8C-83A1-F6EECF244321}">
                <p14:modId xmlns:p14="http://schemas.microsoft.com/office/powerpoint/2010/main" val="1505533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5" name="对象 4" hidden="1">
                        <a:extLst>
                          <a:ext uri="{FF2B5EF4-FFF2-40B4-BE49-F238E27FC236}">
                            <a16:creationId xmlns:a16="http://schemas.microsoft.com/office/drawing/2014/main" id="{4B83D78F-1A52-4E00-AFC5-3C3DFA92B1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5" cstate="print"/>
          <a:stretch>
            <a:fillRect/>
          </a:stretch>
        </p:blipFill>
        <p:spPr>
          <a:xfrm>
            <a:off x="1" y="1711451"/>
            <a:ext cx="12191999" cy="5146546"/>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able of Contents">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6753CF1B-55AD-4ECB-9F11-57FB1B8C33DE}"/>
              </a:ext>
            </a:extLst>
          </p:cNvPr>
          <p:cNvGraphicFramePr>
            <a:graphicFrameLocks noChangeAspect="1"/>
          </p:cNvGraphicFramePr>
          <p:nvPr userDrawn="1">
            <p:custDataLst>
              <p:tags r:id="rId1"/>
            </p:custDataLst>
            <p:extLst>
              <p:ext uri="{D42A27DB-BD31-4B8C-83A1-F6EECF244321}">
                <p14:modId xmlns:p14="http://schemas.microsoft.com/office/powerpoint/2010/main" val="166481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2" name="对象 1" hidden="1">
                        <a:extLst>
                          <a:ext uri="{FF2B5EF4-FFF2-40B4-BE49-F238E27FC236}">
                            <a16:creationId xmlns:a16="http://schemas.microsoft.com/office/drawing/2014/main" id="{6753CF1B-55AD-4ECB-9F11-57FB1B8C33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Rectangle 60"/>
          <p:cNvSpPr>
            <a:spLocks noChangeArrowheads="1"/>
          </p:cNvSpPr>
          <p:nvPr/>
        </p:nvSpPr>
        <p:spPr bwMode="gray">
          <a:xfrm>
            <a:off x="406400" y="685800"/>
            <a:ext cx="3254328" cy="6172200"/>
          </a:xfrm>
          <a:prstGeom prst="rect">
            <a:avLst/>
          </a:prstGeom>
          <a:solidFill>
            <a:srgbClr val="9B000B"/>
          </a:solidFill>
          <a:ln>
            <a:noFill/>
          </a:ln>
        </p:spPr>
        <p:txBody>
          <a:bodyPr vert="horz" wrap="square" lIns="68580" tIns="34290" rIns="68580" bIns="34290" numCol="1" anchor="t" anchorCtr="0" compatLnSpc="1">
            <a:prstTxWarp prst="textNoShape">
              <a:avLst/>
            </a:prstTxWarp>
          </a:bodyPr>
          <a:lstStyle/>
          <a:p>
            <a:endParaRPr lang="en-US" sz="195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1" name="TextBox 160"/>
          <p:cNvSpPr txBox="1"/>
          <p:nvPr/>
        </p:nvSpPr>
        <p:spPr bwMode="white">
          <a:xfrm>
            <a:off x="1129853" y="835018"/>
            <a:ext cx="1816547" cy="4999475"/>
          </a:xfrm>
          <a:prstGeom prst="rect">
            <a:avLst/>
          </a:prstGeom>
          <a:noFill/>
        </p:spPr>
        <p:txBody>
          <a:bodyPr wrap="square" rtlCol="0" anchor="ctr" anchorCtr="0">
            <a:noAutofit/>
          </a:bodyPr>
          <a:lstStyle/>
          <a:p>
            <a:pPr algn="ctr"/>
            <a:r>
              <a:rPr lang="zh-CN" altLang="en-US" sz="28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目</a:t>
            </a:r>
            <a:endParaRPr lang="en-US" altLang="zh-CN" sz="28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sz="28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录</a:t>
            </a:r>
            <a:endParaRPr lang="en-US" sz="21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4" name="Text Placeholder 163"/>
          <p:cNvSpPr>
            <a:spLocks noGrp="1"/>
          </p:cNvSpPr>
          <p:nvPr>
            <p:ph type="body" sz="quarter" idx="11" hasCustomPrompt="1"/>
          </p:nvPr>
        </p:nvSpPr>
        <p:spPr>
          <a:xfrm>
            <a:off x="4236982" y="3230882"/>
            <a:ext cx="7090641" cy="207749"/>
          </a:xfrm>
          <a:prstGeom prst="rect">
            <a:avLst/>
          </a:prstGeom>
        </p:spPr>
        <p:txBody>
          <a:bodyPr anchor="ctr"/>
          <a:lstStyle>
            <a:lvl1pPr marL="171443" indent="-171443">
              <a:lnSpc>
                <a:spcPct val="100000"/>
              </a:lnSpc>
              <a:spcBef>
                <a:spcPts val="1500"/>
              </a:spcBef>
              <a:buClr>
                <a:schemeClr val="accent1"/>
              </a:buClr>
              <a:buFont typeface="Arial" panose="020B0604020202020204" pitchFamily="34" charset="0"/>
              <a:buChar char="+"/>
              <a:defRPr sz="1350" baseline="0">
                <a:latin typeface="微软雅黑" panose="020B0503020204020204" pitchFamily="34" charset="-122"/>
                <a:ea typeface="微软雅黑" panose="020B0503020204020204" pitchFamily="34" charset="-122"/>
                <a:sym typeface="微软雅黑" panose="020B0503020204020204" pitchFamily="34" charset="-122"/>
              </a:defRPr>
            </a:lvl1pPr>
            <a:lvl2pPr marL="300026" indent="-128583">
              <a:buClr>
                <a:schemeClr val="bg2"/>
              </a:buClr>
              <a:defRPr sz="1350"/>
            </a:lvl2pPr>
            <a:lvl3pPr>
              <a:defRPr sz="1350"/>
            </a:lvl3pPr>
            <a:lvl4pPr>
              <a:defRPr sz="1350"/>
            </a:lvl4pPr>
            <a:lvl5pPr>
              <a:defRPr sz="1350"/>
            </a:lvl5pPr>
          </a:lstStyle>
          <a:p>
            <a:pPr lvl="0"/>
            <a:r>
              <a:rPr lang="en-US" dirty="0"/>
              <a:t>Arial 18pt TOC</a:t>
            </a:r>
          </a:p>
        </p:txBody>
      </p:sp>
      <p:sp>
        <p:nvSpPr>
          <p:cNvPr id="26" name="Rectangle 58"/>
          <p:cNvSpPr>
            <a:spLocks noChangeArrowheads="1"/>
          </p:cNvSpPr>
          <p:nvPr/>
        </p:nvSpPr>
        <p:spPr bwMode="gray">
          <a:xfrm>
            <a:off x="3660729" y="6420040"/>
            <a:ext cx="6116253" cy="177800"/>
          </a:xfrm>
          <a:prstGeom prst="rect">
            <a:avLst/>
          </a:prstGeom>
          <a:solidFill>
            <a:srgbClr val="A31620"/>
          </a:solidFill>
          <a:ln>
            <a:noFill/>
          </a:ln>
        </p:spPr>
        <p:txBody>
          <a:bodyPr vert="horz" wrap="square" lIns="68580" tIns="34290" rIns="68580" bIns="34290" numCol="1" anchor="t" anchorCtr="0" compatLnSpc="1">
            <a:prstTxWarp prst="textNoShape">
              <a:avLst/>
            </a:prstTxWarp>
          </a:bodyPr>
          <a:lstStyle/>
          <a:p>
            <a:endParaRPr lang="en-US" sz="19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Rectangle 58"/>
          <p:cNvSpPr>
            <a:spLocks noChangeArrowheads="1"/>
          </p:cNvSpPr>
          <p:nvPr/>
        </p:nvSpPr>
        <p:spPr bwMode="white">
          <a:xfrm>
            <a:off x="582286" y="6420040"/>
            <a:ext cx="3078444" cy="17780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endParaRPr lang="en-US" sz="19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 name="Rectangle 58"/>
          <p:cNvSpPr>
            <a:spLocks noChangeArrowheads="1"/>
          </p:cNvSpPr>
          <p:nvPr/>
        </p:nvSpPr>
        <p:spPr bwMode="gray">
          <a:xfrm>
            <a:off x="6034" y="6420040"/>
            <a:ext cx="576252" cy="177800"/>
          </a:xfrm>
          <a:prstGeom prst="rect">
            <a:avLst/>
          </a:prstGeom>
          <a:solidFill>
            <a:srgbClr val="A31620"/>
          </a:solidFill>
          <a:ln>
            <a:noFill/>
          </a:ln>
        </p:spPr>
        <p:txBody>
          <a:bodyPr vert="horz" wrap="square" lIns="68580" tIns="34290" rIns="68580" bIns="34290" numCol="1" anchor="t" anchorCtr="0" compatLnSpc="1">
            <a:prstTxWarp prst="textNoShape">
              <a:avLst/>
            </a:prstTxWarp>
          </a:bodyPr>
          <a:lstStyle/>
          <a:p>
            <a:endParaRPr lang="en-US" sz="19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Slide Number Placeholder 5"/>
          <p:cNvSpPr txBox="1">
            <a:spLocks/>
          </p:cNvSpPr>
          <p:nvPr/>
        </p:nvSpPr>
        <p:spPr bwMode="white">
          <a:xfrm>
            <a:off x="11615750"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fld>
            <a:endParaRPr lang="en-US" sz="67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0" name="Picture 9">
            <a:extLst>
              <a:ext uri="{FF2B5EF4-FFF2-40B4-BE49-F238E27FC236}">
                <a16:creationId xmlns:a16="http://schemas.microsoft.com/office/drawing/2014/main" id="{B3A9DE8C-7874-4D47-AF71-A20676447FA5}"/>
              </a:ext>
            </a:extLst>
          </p:cNvPr>
          <p:cNvPicPr>
            <a:picLocks noChangeAspect="1"/>
          </p:cNvPicPr>
          <p:nvPr userDrawn="1"/>
        </p:nvPicPr>
        <p:blipFill>
          <a:blip r:embed="rId5"/>
          <a:stretch>
            <a:fillRect/>
          </a:stretch>
        </p:blipFill>
        <p:spPr>
          <a:xfrm>
            <a:off x="9296400" y="137161"/>
            <a:ext cx="2636763" cy="510069"/>
          </a:xfrm>
          <a:prstGeom prst="rect">
            <a:avLst/>
          </a:prstGeom>
        </p:spPr>
      </p:pic>
      <p:sp>
        <p:nvSpPr>
          <p:cNvPr id="11" name="TextBox 10">
            <a:extLst>
              <a:ext uri="{FF2B5EF4-FFF2-40B4-BE49-F238E27FC236}">
                <a16:creationId xmlns:a16="http://schemas.microsoft.com/office/drawing/2014/main" id="{798C0FEA-F233-4D3E-87FE-63FC71D38FFA}"/>
              </a:ext>
            </a:extLst>
          </p:cNvPr>
          <p:cNvSpPr txBox="1"/>
          <p:nvPr userDrawn="1"/>
        </p:nvSpPr>
        <p:spPr>
          <a:xfrm>
            <a:off x="11480317" y="438922"/>
            <a:ext cx="609600" cy="369332"/>
          </a:xfrm>
          <a:prstGeom prst="rect">
            <a:avLst/>
          </a:prstGeom>
          <a:solidFill>
            <a:schemeClr val="bg1"/>
          </a:solidFill>
        </p:spPr>
        <p:txBody>
          <a:bodyPr wrap="square" rtlCol="0">
            <a:spAutoFit/>
          </a:bodyPr>
          <a:lstStyle/>
          <a:p>
            <a:endParaRPr lang="zh-CN" altLang="en-US" sz="18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36334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 IQVIA">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700F42EB-08E9-4CD1-A232-70F73ADAA851}"/>
              </a:ext>
            </a:extLst>
          </p:cNvPr>
          <p:cNvGraphicFramePr>
            <a:graphicFrameLocks noChangeAspect="1"/>
          </p:cNvGraphicFramePr>
          <p:nvPr userDrawn="1">
            <p:custDataLst>
              <p:tags r:id="rId1"/>
            </p:custDataLst>
            <p:extLst>
              <p:ext uri="{D42A27DB-BD31-4B8C-83A1-F6EECF244321}">
                <p14:modId xmlns:p14="http://schemas.microsoft.com/office/powerpoint/2010/main" val="344900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2" name="对象 1" hidden="1">
                        <a:extLst>
                          <a:ext uri="{FF2B5EF4-FFF2-40B4-BE49-F238E27FC236}">
                            <a16:creationId xmlns:a16="http://schemas.microsoft.com/office/drawing/2014/main" id="{700F42EB-08E9-4CD1-A232-70F73ADAA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5"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00" b="0" smtClean="0">
                <a:solidFill>
                  <a:srgbClr val="959CA0"/>
                </a:solidFill>
                <a:latin typeface="微软雅黑" panose="020B0503020204020204" pitchFamily="34" charset="-122"/>
                <a:ea typeface="微软雅黑" panose="020B0503020204020204" pitchFamily="34" charset="-122"/>
                <a:sym typeface="微软雅黑" panose="020B0503020204020204" pitchFamily="34" charset="-122"/>
              </a:rPr>
              <a:t>‹#›</a:t>
            </a:fld>
            <a:endParaRPr lang="en-US" sz="600" b="0" dirty="0">
              <a:solidFill>
                <a:srgbClr val="959CA0"/>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5" name="Picture 4">
            <a:extLst>
              <a:ext uri="{FF2B5EF4-FFF2-40B4-BE49-F238E27FC236}">
                <a16:creationId xmlns:a16="http://schemas.microsoft.com/office/drawing/2014/main" id="{EEBA0FCD-1139-4403-AB49-0DE5B66972E2}"/>
              </a:ext>
            </a:extLst>
          </p:cNvPr>
          <p:cNvPicPr>
            <a:picLocks noChangeAspect="1"/>
          </p:cNvPicPr>
          <p:nvPr userDrawn="1"/>
        </p:nvPicPr>
        <p:blipFill>
          <a:blip r:embed="rId5"/>
          <a:stretch>
            <a:fillRect/>
          </a:stretch>
        </p:blipFill>
        <p:spPr>
          <a:xfrm>
            <a:off x="9296400" y="137161"/>
            <a:ext cx="2636763" cy="510069"/>
          </a:xfrm>
          <a:prstGeom prst="rect">
            <a:avLst/>
          </a:prstGeom>
        </p:spPr>
      </p:pic>
      <p:sp>
        <p:nvSpPr>
          <p:cNvPr id="6" name="TextBox 5">
            <a:extLst>
              <a:ext uri="{FF2B5EF4-FFF2-40B4-BE49-F238E27FC236}">
                <a16:creationId xmlns:a16="http://schemas.microsoft.com/office/drawing/2014/main" id="{60F847B1-325A-4371-8AE2-C6FCA00EEBCD}"/>
              </a:ext>
            </a:extLst>
          </p:cNvPr>
          <p:cNvSpPr txBox="1"/>
          <p:nvPr userDrawn="1"/>
        </p:nvSpPr>
        <p:spPr>
          <a:xfrm>
            <a:off x="11480317" y="438922"/>
            <a:ext cx="609600" cy="369332"/>
          </a:xfrm>
          <a:prstGeom prst="rect">
            <a:avLst/>
          </a:prstGeom>
          <a:solidFill>
            <a:schemeClr val="bg1"/>
          </a:solidFill>
        </p:spPr>
        <p:txBody>
          <a:bodyPr wrap="square" rtlCol="0">
            <a:spAutoFit/>
          </a:bodyPr>
          <a:lstStyle/>
          <a:p>
            <a:endParaRPr lang="zh-CN" altLang="en-US" sz="18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418910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2_节标题">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820523F-4451-4A22-A020-CB9D273053E6}"/>
              </a:ext>
            </a:extLst>
          </p:cNvPr>
          <p:cNvGraphicFramePr>
            <a:graphicFrameLocks noChangeAspect="1"/>
          </p:cNvGraphicFramePr>
          <p:nvPr userDrawn="1">
            <p:custDataLst>
              <p:tags r:id="rId1"/>
            </p:custDataLst>
            <p:extLst>
              <p:ext uri="{D42A27DB-BD31-4B8C-83A1-F6EECF244321}">
                <p14:modId xmlns:p14="http://schemas.microsoft.com/office/powerpoint/2010/main" val="309837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0" imgH="469" progId="TCLayout.ActiveDocument.1">
                  <p:embed/>
                </p:oleObj>
              </mc:Choice>
              <mc:Fallback>
                <p:oleObj name="think-cell 幻灯片" r:id="rId3" imgW="470" imgH="469" progId="TCLayout.ActiveDocument.1">
                  <p:embed/>
                  <p:pic>
                    <p:nvPicPr>
                      <p:cNvPr id="3" name="对象 2" hidden="1">
                        <a:extLst>
                          <a:ext uri="{FF2B5EF4-FFF2-40B4-BE49-F238E27FC236}">
                            <a16:creationId xmlns:a16="http://schemas.microsoft.com/office/drawing/2014/main" id="{3820523F-4451-4A22-A020-CB9D273053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object 4"/>
          <p:cNvGrpSpPr/>
          <p:nvPr userDrawn="1"/>
        </p:nvGrpSpPr>
        <p:grpSpPr>
          <a:xfrm flipH="1">
            <a:off x="65709" y="6462431"/>
            <a:ext cx="12260098" cy="395475"/>
            <a:chOff x="0" y="8676511"/>
            <a:chExt cx="6516370" cy="539750"/>
          </a:xfrm>
        </p:grpSpPr>
        <p:sp>
          <p:nvSpPr>
            <p:cNvPr id="10" name="object 5"/>
            <p:cNvSpPr/>
            <p:nvPr/>
          </p:nvSpPr>
          <p:spPr>
            <a:xfrm>
              <a:off x="4236808" y="9011005"/>
              <a:ext cx="2279650" cy="205104"/>
            </a:xfrm>
            <a:custGeom>
              <a:avLst/>
              <a:gdLst/>
              <a:ahLst/>
              <a:cxnLst/>
              <a:rect l="l" t="t" r="r" b="b"/>
              <a:pathLst>
                <a:path w="2279650" h="205104">
                  <a:moveTo>
                    <a:pt x="2279180" y="0"/>
                  </a:moveTo>
                  <a:lnTo>
                    <a:pt x="0" y="0"/>
                  </a:lnTo>
                  <a:lnTo>
                    <a:pt x="0" y="204990"/>
                  </a:lnTo>
                  <a:lnTo>
                    <a:pt x="2279180" y="204990"/>
                  </a:lnTo>
                  <a:lnTo>
                    <a:pt x="2279180" y="0"/>
                  </a:lnTo>
                  <a:close/>
                </a:path>
              </a:pathLst>
            </a:custGeom>
            <a:solidFill>
              <a:srgbClr val="9E3A39"/>
            </a:solidFill>
          </p:spPr>
          <p:txBody>
            <a:bodyPr wrap="square" lIns="0" tIns="0" rIns="0" bIns="0" rtlCol="0"/>
            <a:lstStyle/>
            <a:p>
              <a:endParaRPr sz="1319">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object 6"/>
            <p:cNvSpPr/>
            <p:nvPr/>
          </p:nvSpPr>
          <p:spPr>
            <a:xfrm>
              <a:off x="0" y="8676512"/>
              <a:ext cx="4895215" cy="539750"/>
            </a:xfrm>
            <a:custGeom>
              <a:avLst/>
              <a:gdLst/>
              <a:ahLst/>
              <a:cxnLst/>
              <a:rect l="l" t="t" r="r" b="b"/>
              <a:pathLst>
                <a:path w="4895215" h="539750">
                  <a:moveTo>
                    <a:pt x="4498187" y="539483"/>
                  </a:moveTo>
                  <a:lnTo>
                    <a:pt x="4117822" y="0"/>
                  </a:lnTo>
                  <a:lnTo>
                    <a:pt x="0" y="0"/>
                  </a:lnTo>
                  <a:lnTo>
                    <a:pt x="0" y="539483"/>
                  </a:lnTo>
                  <a:lnTo>
                    <a:pt x="4498187" y="539483"/>
                  </a:lnTo>
                  <a:close/>
                </a:path>
                <a:path w="4895215" h="539750">
                  <a:moveTo>
                    <a:pt x="4737163" y="539483"/>
                  </a:moveTo>
                  <a:lnTo>
                    <a:pt x="4356798" y="0"/>
                  </a:lnTo>
                  <a:lnTo>
                    <a:pt x="4216984" y="0"/>
                  </a:lnTo>
                  <a:lnTo>
                    <a:pt x="4597349" y="539483"/>
                  </a:lnTo>
                  <a:lnTo>
                    <a:pt x="4737163" y="539483"/>
                  </a:lnTo>
                  <a:close/>
                </a:path>
                <a:path w="4895215" h="539750">
                  <a:moveTo>
                    <a:pt x="4895189" y="539483"/>
                  </a:moveTo>
                  <a:lnTo>
                    <a:pt x="4514812" y="0"/>
                  </a:lnTo>
                  <a:lnTo>
                    <a:pt x="4444924" y="0"/>
                  </a:lnTo>
                  <a:lnTo>
                    <a:pt x="4825289" y="539483"/>
                  </a:lnTo>
                  <a:lnTo>
                    <a:pt x="4895189" y="539483"/>
                  </a:lnTo>
                  <a:close/>
                </a:path>
              </a:pathLst>
            </a:custGeom>
            <a:solidFill>
              <a:srgbClr val="D25655"/>
            </a:solidFill>
          </p:spPr>
          <p:txBody>
            <a:bodyPr wrap="square" lIns="0" tIns="0" rIns="0" bIns="0" rtlCol="0"/>
            <a:lstStyle/>
            <a:p>
              <a:endParaRPr sz="1319">
                <a:latin typeface="微软雅黑" panose="020B0503020204020204" pitchFamily="34" charset="-122"/>
                <a:ea typeface="微软雅黑" panose="020B0503020204020204" pitchFamily="34" charset="-122"/>
                <a:sym typeface="微软雅黑" panose="020B0503020204020204" pitchFamily="34" charset="-122"/>
              </a:endParaRPr>
            </a:p>
          </p:txBody>
        </p:sp>
      </p:grpSp>
      <p:cxnSp>
        <p:nvCxnSpPr>
          <p:cNvPr id="2" name="直接连接符 1"/>
          <p:cNvCxnSpPr/>
          <p:nvPr/>
        </p:nvCxnSpPr>
        <p:spPr>
          <a:xfrm>
            <a:off x="643949" y="791415"/>
            <a:ext cx="6849264" cy="372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37099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CC6661E-69BB-4586-BE86-993F53194014}"/>
              </a:ext>
            </a:extLst>
          </p:cNvPr>
          <p:cNvGraphicFramePr>
            <a:graphicFrameLocks noChangeAspect="1"/>
          </p:cNvGraphicFramePr>
          <p:nvPr userDrawn="1">
            <p:custDataLst>
              <p:tags r:id="rId10"/>
            </p:custDataLst>
            <p:extLst>
              <p:ext uri="{D42A27DB-BD31-4B8C-83A1-F6EECF244321}">
                <p14:modId xmlns:p14="http://schemas.microsoft.com/office/powerpoint/2010/main" val="23977328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幻灯片" r:id="rId11" imgW="360" imgH="360" progId="TCLayout.ActiveDocument.1">
                  <p:embed/>
                </p:oleObj>
              </mc:Choice>
              <mc:Fallback>
                <p:oleObj name="think-cell 幻灯片" r:id="rId11" imgW="360" imgH="360" progId="TCLayout.ActiveDocument.1">
                  <p:embed/>
                  <p:pic>
                    <p:nvPicPr>
                      <p:cNvPr id="9" name="Object 8" hidden="1">
                        <a:extLst>
                          <a:ext uri="{FF2B5EF4-FFF2-40B4-BE49-F238E27FC236}">
                            <a16:creationId xmlns:a16="http://schemas.microsoft.com/office/drawing/2014/main" id="{ACC6661E-69BB-4586-BE86-993F53194014}"/>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pic>
        <p:nvPicPr>
          <p:cNvPr id="16" name="bg object 16"/>
          <p:cNvPicPr/>
          <p:nvPr userDrawn="1"/>
        </p:nvPicPr>
        <p:blipFill>
          <a:blip r:embed="rId13" cstate="print"/>
          <a:stretch>
            <a:fillRect/>
          </a:stretch>
        </p:blipFill>
        <p:spPr>
          <a:xfrm>
            <a:off x="304800" y="203061"/>
            <a:ext cx="2804160" cy="332231"/>
          </a:xfrm>
          <a:prstGeom prst="rect">
            <a:avLst/>
          </a:prstGeom>
        </p:spPr>
      </p:pic>
      <p:sp>
        <p:nvSpPr>
          <p:cNvPr id="2" name="Holder 2"/>
          <p:cNvSpPr>
            <a:spLocks noGrp="1"/>
          </p:cNvSpPr>
          <p:nvPr>
            <p:ph type="title"/>
          </p:nvPr>
        </p:nvSpPr>
        <p:spPr>
          <a:xfrm>
            <a:off x="1586720" y="774954"/>
            <a:ext cx="9525845" cy="307777"/>
          </a:xfrm>
          <a:prstGeom prst="rect">
            <a:avLst/>
          </a:prstGeom>
        </p:spPr>
        <p:txBody>
          <a:bodyPr wrap="square" lIns="0" tIns="0" rIns="0" bIns="0">
            <a:spAutoFit/>
          </a:bodyPr>
          <a:lstStyle>
            <a:lvl1pPr>
              <a:defRPr sz="2000" b="1" i="0">
                <a:solidFill>
                  <a:srgbClr val="A9222C"/>
                </a:solidFill>
                <a:latin typeface="Microsoft YaHei"/>
                <a:cs typeface="Microsoft YaHei"/>
              </a:defRPr>
            </a:lvl1pPr>
          </a:lstStyle>
          <a:p>
            <a:endParaRPr/>
          </a:p>
        </p:txBody>
      </p:sp>
      <p:sp>
        <p:nvSpPr>
          <p:cNvPr id="3" name="Holder 3"/>
          <p:cNvSpPr>
            <a:spLocks noGrp="1"/>
          </p:cNvSpPr>
          <p:nvPr>
            <p:ph type="body" idx="1"/>
          </p:nvPr>
        </p:nvSpPr>
        <p:spPr>
          <a:xfrm>
            <a:off x="1238436" y="1680211"/>
            <a:ext cx="9966960" cy="276999"/>
          </a:xfrm>
          <a:prstGeom prst="rect">
            <a:avLst/>
          </a:prstGeom>
        </p:spPr>
        <p:txBody>
          <a:bodyPr wrap="square" lIns="0" tIns="0" rIns="0" bIns="0">
            <a:spAutoFit/>
          </a:bodyPr>
          <a:lstStyle>
            <a:lvl1pPr>
              <a:defRPr sz="1800" b="0" i="0">
                <a:solidFill>
                  <a:schemeClr val="tx1"/>
                </a:solidFill>
                <a:latin typeface="Microsoft YaHei"/>
                <a:cs typeface="Microsoft YaHei"/>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endParaRPr lang="zh-CN" altLang="en-US"/>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1D8BD707-D9CF-40AE-B4C6-C98DA3205C09}" type="datetimeFigureOut">
              <a:rPr lang="en-US" smtClean="0"/>
              <a:pPr/>
              <a:t>11/13/2022</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latin typeface="微软雅黑" panose="020B0503020204020204" pitchFamily="34" charset="-122"/>
                <a:ea typeface="微软雅黑" panose="020B0503020204020204" pitchFamily="34" charset="-122"/>
                <a:sym typeface="微软雅黑" panose="020B0503020204020204" pitchFamily="34" charset="-122"/>
              </a:defRPr>
            </a:lvl1pPr>
          </a:lstStyle>
          <a:p>
            <a:fld id="{B6F15528-21DE-4FAA-801E-634DDDAF4B2B}" type="slidenum">
              <a:rPr lang="en-US" altLang="zh-CN" smtClean="0"/>
              <a:pPr/>
              <a:t>‹#›</a:t>
            </a:fld>
            <a:endParaRPr lang="en-US" altLang="zh-CN"/>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defRPr>
          <a:latin typeface="微软雅黑" panose="020B0503020204020204" pitchFamily="34" charset="-122"/>
          <a:ea typeface="微软雅黑" panose="020B0503020204020204" pitchFamily="34" charset="-122"/>
          <a:cs typeface="+mj-cs"/>
          <a:sym typeface="微软雅黑" panose="020B0503020204020204" pitchFamily="34" charset="-122"/>
        </a:defRPr>
      </a:lvl1pPr>
    </p:titleStyle>
    <p:bodyStyle>
      <a:lvl1pPr marL="0">
        <a:defRPr>
          <a:latin typeface="微软雅黑" panose="020B0503020204020204" pitchFamily="34" charset="-122"/>
          <a:ea typeface="微软雅黑" panose="020B0503020204020204" pitchFamily="34" charset="-122"/>
          <a:cs typeface="+mn-cs"/>
          <a:sym typeface="微软雅黑" panose="020B0503020204020204" pitchFamily="34" charset="-122"/>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0.xml"/><Relationship Id="rId7"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19.bin"/><Relationship Id="rId9" Type="http://schemas.openxmlformats.org/officeDocument/2006/relationships/image" Target="../media/image31.sv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1.xml"/><Relationship Id="rId7" Type="http://schemas.openxmlformats.org/officeDocument/2006/relationships/image" Target="../media/image34.svg"/><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image" Target="../media/image3.emf"/><Relationship Id="rId10" Type="http://schemas.openxmlformats.org/officeDocument/2006/relationships/image" Target="../media/image36.jpeg"/><Relationship Id="rId4" Type="http://schemas.openxmlformats.org/officeDocument/2006/relationships/oleObject" Target="../embeddings/oleObject20.bin"/><Relationship Id="rId9" Type="http://schemas.openxmlformats.org/officeDocument/2006/relationships/image" Target="../media/image35.sv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6.jpg"/><Relationship Id="rId5" Type="http://schemas.openxmlformats.org/officeDocument/2006/relationships/image" Target="../media/image3.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image" Target="../media/image9.sv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sv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5.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slideLayout" Target="../slideLayouts/slideLayout7.xml"/><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27.jpeg"/><Relationship Id="rId2" Type="http://schemas.openxmlformats.org/officeDocument/2006/relationships/tags" Target="../tags/tag20.xml"/><Relationship Id="rId16" Type="http://schemas.openxmlformats.org/officeDocument/2006/relationships/image" Target="../media/image26.svg"/><Relationship Id="rId1" Type="http://schemas.openxmlformats.org/officeDocument/2006/relationships/tags" Target="../tags/tag19.x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18.bin"/><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notesSlide" Target="../notesSlides/notesSlide9.xml"/><Relationship Id="rId9" Type="http://schemas.openxmlformats.org/officeDocument/2006/relationships/image" Target="../media/image19.png"/><Relationship Id="rId14"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2F2121-272C-4EA6-8567-25EC6E063CD6}"/>
              </a:ext>
            </a:extLst>
          </p:cNvPr>
          <p:cNvGraphicFramePr>
            <a:graphicFrameLocks noChangeAspect="1"/>
          </p:cNvGraphicFramePr>
          <p:nvPr>
            <p:custDataLst>
              <p:tags r:id="rId1"/>
            </p:custDataLst>
            <p:extLst>
              <p:ext uri="{D42A27DB-BD31-4B8C-83A1-F6EECF244321}">
                <p14:modId xmlns:p14="http://schemas.microsoft.com/office/powerpoint/2010/main" val="90851976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60" imgH="360" progId="TCLayout.ActiveDocument.1">
                  <p:embed/>
                </p:oleObj>
              </mc:Choice>
              <mc:Fallback>
                <p:oleObj name="think-cell 幻灯片" r:id="rId4" imgW="360" imgH="360" progId="TCLayout.ActiveDocument.1">
                  <p:embed/>
                  <p:pic>
                    <p:nvPicPr>
                      <p:cNvPr id="3" name="Object 2" hidden="1">
                        <a:extLst>
                          <a:ext uri="{FF2B5EF4-FFF2-40B4-BE49-F238E27FC236}">
                            <a16:creationId xmlns:a16="http://schemas.microsoft.com/office/drawing/2014/main" id="{CF2F2121-272C-4EA6-8567-25EC6E063CD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CFD347-A42D-4653-B685-E5F81979C7CB}"/>
              </a:ext>
            </a:extLst>
          </p:cNvPr>
          <p:cNvSpPr>
            <a:spLocks noGrp="1"/>
          </p:cNvSpPr>
          <p:nvPr>
            <p:ph type="title"/>
          </p:nvPr>
        </p:nvSpPr>
        <p:spPr>
          <a:xfrm>
            <a:off x="1676400" y="1862354"/>
            <a:ext cx="8763000" cy="1566647"/>
          </a:xfrm>
        </p:spPr>
        <p:txBody>
          <a:bodyPr vert="horz"/>
          <a:lstStyle/>
          <a:p>
            <a:pPr algn="ctr">
              <a:lnSpc>
                <a:spcPct val="125000"/>
              </a:lnSpc>
            </a:pPr>
            <a:r>
              <a:rPr lang="zh-CN"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中国</a:t>
            </a:r>
            <a:r>
              <a:rPr lang="en-US"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型炎症皮肤病临床研究与均质化诊疗项目</a:t>
            </a:r>
            <a:br>
              <a:rPr lang="en-US"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br>
            <a:r>
              <a:rPr lang="zh-CN"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暨</a:t>
            </a:r>
            <a:r>
              <a:rPr lang="en-US"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型炎症相关皮肤病全国协作网建设</a:t>
            </a:r>
            <a:br>
              <a:rPr lang="en-US" altLang="zh-CN"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br>
            <a:r>
              <a:rPr lang="zh-CN" altLang="en-US" sz="28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项目背景及协作单位认证介绍</a:t>
            </a:r>
          </a:p>
        </p:txBody>
      </p:sp>
      <p:sp>
        <p:nvSpPr>
          <p:cNvPr id="4" name="文本框 3">
            <a:extLst>
              <a:ext uri="{FF2B5EF4-FFF2-40B4-BE49-F238E27FC236}">
                <a16:creationId xmlns:a16="http://schemas.microsoft.com/office/drawing/2014/main" id="{16E84AE0-F627-4087-8EA0-9AFC666430F7}"/>
              </a:ext>
            </a:extLst>
          </p:cNvPr>
          <p:cNvSpPr txBox="1"/>
          <p:nvPr/>
        </p:nvSpPr>
        <p:spPr>
          <a:xfrm>
            <a:off x="33997" y="6507723"/>
            <a:ext cx="10920046" cy="338554"/>
          </a:xfrm>
          <a:prstGeom prst="rect">
            <a:avLst/>
          </a:prstGeom>
          <a:noFill/>
        </p:spPr>
        <p:txBody>
          <a:bodyPr wrap="square">
            <a:spAutoFit/>
          </a:bodyPr>
          <a:lstStyle/>
          <a:p>
            <a:r>
              <a:rPr lang="en-US" altLang="zh-CN" sz="800" dirty="0">
                <a:latin typeface="微软雅黑" panose="020B0503020204020204" pitchFamily="34" charset="-122"/>
                <a:ea typeface="微软雅黑" panose="020B0503020204020204" pitchFamily="34" charset="-122"/>
                <a:sym typeface="微软雅黑" panose="020B0503020204020204" pitchFamily="34" charset="-122"/>
              </a:rPr>
              <a:t>1.</a:t>
            </a:r>
            <a:r>
              <a:rPr lang="en-US" altLang="zh-CN" sz="800" b="0" i="0" dirty="0">
                <a:solidFill>
                  <a:srgbClr val="303030"/>
                </a:solidFill>
                <a:effectLst/>
                <a:latin typeface="Arial" panose="020B0604020202020204" pitchFamily="34" charset="0"/>
              </a:rPr>
              <a:t> MAT-CN-2229122</a:t>
            </a:r>
            <a:r>
              <a:rPr lang="en-US" altLang="zh-CN" sz="8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sym typeface="微软雅黑" panose="020B0503020204020204" pitchFamily="34" charset="-122"/>
              </a:rPr>
              <a:t>有效期至</a:t>
            </a:r>
            <a:r>
              <a:rPr lang="en-US" altLang="zh-CN" sz="800" dirty="0">
                <a:latin typeface="微软雅黑" panose="020B0503020204020204" pitchFamily="34" charset="-122"/>
                <a:ea typeface="微软雅黑" panose="020B0503020204020204" pitchFamily="34" charset="-122"/>
                <a:sym typeface="微软雅黑" panose="020B0503020204020204" pitchFamily="34" charset="-122"/>
              </a:rPr>
              <a:t>2024.11.15)</a:t>
            </a:r>
            <a:r>
              <a:rPr lang="zh-CN" altLang="en-US" sz="800" dirty="0">
                <a:latin typeface="微软雅黑" panose="020B0503020204020204" pitchFamily="34" charset="-122"/>
                <a:ea typeface="微软雅黑" panose="020B0503020204020204" pitchFamily="34" charset="-122"/>
                <a:sym typeface="微软雅黑" panose="020B0503020204020204" pitchFamily="34" charset="-122"/>
              </a:rPr>
              <a:t>本编号仅作为赛诺菲对本文章所涉及的赛诺菲相关药物所属治疗领域科学和临床数据来源真实性的确认，不作为赛诺菲对本文章全部内容准确性、时效性和完整性的确认和保证；</a:t>
            </a:r>
          </a:p>
          <a:p>
            <a:r>
              <a:rPr lang="en-US" altLang="zh-CN" sz="800"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sym typeface="微软雅黑" panose="020B0503020204020204" pitchFamily="34" charset="-122"/>
              </a:rPr>
              <a:t>本文章仅供医疗卫生专业人士为学术交流或了解医学资讯目的使用，不构成对任何药物或治疗方案的推荐和推广。本文章所含信息不应代替医疗卫生专业人士提供的医疗建议。</a:t>
            </a:r>
          </a:p>
        </p:txBody>
      </p:sp>
    </p:spTree>
    <p:extLst>
      <p:ext uri="{BB962C8B-B14F-4D97-AF65-F5344CB8AC3E}">
        <p14:creationId xmlns:p14="http://schemas.microsoft.com/office/powerpoint/2010/main" val="3656256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A529B3-2C82-4036-9209-41449FDFA3A9}"/>
              </a:ext>
            </a:extLst>
          </p:cNvPr>
          <p:cNvGraphicFramePr>
            <a:graphicFrameLocks noChangeAspect="1"/>
          </p:cNvGraphicFramePr>
          <p:nvPr>
            <p:custDataLst>
              <p:tags r:id="rId1"/>
            </p:custDataLst>
            <p:extLst>
              <p:ext uri="{D42A27DB-BD31-4B8C-83A1-F6EECF244321}">
                <p14:modId xmlns:p14="http://schemas.microsoft.com/office/powerpoint/2010/main" val="215795343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4" name="Object 3" hidden="1">
                        <a:extLst>
                          <a:ext uri="{FF2B5EF4-FFF2-40B4-BE49-F238E27FC236}">
                            <a16:creationId xmlns:a16="http://schemas.microsoft.com/office/drawing/2014/main" id="{0CA529B3-2C82-4036-9209-41449FDFA3A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7CBF4F-AE36-47DD-93FC-15C37B9FEA96}"/>
              </a:ext>
            </a:extLst>
          </p:cNvPr>
          <p:cNvSpPr>
            <a:spLocks noGrp="1"/>
          </p:cNvSpPr>
          <p:nvPr>
            <p:ph type="title"/>
          </p:nvPr>
        </p:nvSpPr>
        <p:spPr>
          <a:xfrm>
            <a:off x="653806" y="810697"/>
            <a:ext cx="5689017" cy="369332"/>
          </a:xfrm>
        </p:spPr>
        <p:txBody>
          <a:bodyPr vert="horz"/>
          <a:lstStyle/>
          <a:p>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协作单位认证框架 </a:t>
            </a:r>
            <a:r>
              <a:rPr lang="en-US" altLang="zh-CN" sz="2400" dirty="0">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皮炎</a:t>
            </a:r>
            <a:r>
              <a:rPr lang="en-US" altLang="zh-CN" sz="24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湿疹数据库</a:t>
            </a:r>
          </a:p>
        </p:txBody>
      </p:sp>
      <p:grpSp>
        <p:nvGrpSpPr>
          <p:cNvPr id="11" name="Group 10">
            <a:extLst>
              <a:ext uri="{FF2B5EF4-FFF2-40B4-BE49-F238E27FC236}">
                <a16:creationId xmlns:a16="http://schemas.microsoft.com/office/drawing/2014/main" id="{11EA8170-8D5E-40D9-9125-048FF729C9F2}"/>
              </a:ext>
            </a:extLst>
          </p:cNvPr>
          <p:cNvGrpSpPr/>
          <p:nvPr/>
        </p:nvGrpSpPr>
        <p:grpSpPr>
          <a:xfrm>
            <a:off x="6780515" y="1070072"/>
            <a:ext cx="4501041" cy="1358683"/>
            <a:chOff x="12112769" y="1045487"/>
            <a:chExt cx="4501041" cy="1358683"/>
          </a:xfrm>
        </p:grpSpPr>
        <p:sp>
          <p:nvSpPr>
            <p:cNvPr id="5" name="矩形 41">
              <a:extLst>
                <a:ext uri="{FF2B5EF4-FFF2-40B4-BE49-F238E27FC236}">
                  <a16:creationId xmlns:a16="http://schemas.microsoft.com/office/drawing/2014/main" id="{BDAC8A51-D517-4F13-9D28-A5647DAD3446}"/>
                </a:ext>
              </a:extLst>
            </p:cNvPr>
            <p:cNvSpPr/>
            <p:nvPr/>
          </p:nvSpPr>
          <p:spPr>
            <a:xfrm>
              <a:off x="12112770" y="1464520"/>
              <a:ext cx="4480560" cy="939650"/>
            </a:xfrm>
            <a:prstGeom prst="rect">
              <a:avLst/>
            </a:prstGeom>
            <a:solidFill>
              <a:schemeClr val="bg1"/>
            </a:solid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r>
                <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型炎症规范化诊疗管理团队</a:t>
              </a:r>
            </a:p>
            <a:p>
              <a:pPr marL="285750" indent="-285750">
                <a:buFont typeface="Arial" panose="020B0604020202020204" pitchFamily="34" charset="0"/>
                <a:buChar char="•"/>
              </a:pPr>
              <a:r>
                <a:rPr lang="zh-CN" altLang="en-US"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医院对项目的支持</a:t>
              </a:r>
              <a:endPar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buFont typeface="Arial" panose="020B0604020202020204" pitchFamily="34" charset="0"/>
                <a:buChar char="•"/>
              </a:pPr>
              <a:r>
                <a:rPr lang="en-US" altLang="zh-CN"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16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型炎症专业人员及门诊出诊</a:t>
              </a:r>
            </a:p>
            <a:p>
              <a:endParaRPr lang="zh-CN" altLang="en-US" dirty="0" err="1">
                <a:solidFill>
                  <a:schemeClr val="tx1"/>
                </a:solidFill>
                <a:cs typeface="+mn-ea"/>
                <a:sym typeface="+mn-lt"/>
              </a:endParaRPr>
            </a:p>
          </p:txBody>
        </p:sp>
        <p:sp>
          <p:nvSpPr>
            <p:cNvPr id="6" name="Rectangle 62">
              <a:extLst>
                <a:ext uri="{FF2B5EF4-FFF2-40B4-BE49-F238E27FC236}">
                  <a16:creationId xmlns:a16="http://schemas.microsoft.com/office/drawing/2014/main" id="{C88E3AFB-3837-4646-9784-F81348A69FD6}"/>
                </a:ext>
              </a:extLst>
            </p:cNvPr>
            <p:cNvSpPr/>
            <p:nvPr/>
          </p:nvSpPr>
          <p:spPr>
            <a:xfrm>
              <a:off x="12112769" y="1045487"/>
              <a:ext cx="4501041" cy="430169"/>
            </a:xfrm>
            <a:prstGeom prst="rect">
              <a:avLst/>
            </a:prstGeom>
            <a:solidFill>
              <a:srgbClr val="A316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协作单位建设考核</a:t>
              </a:r>
              <a:endParaRPr lang="en-US" altLang="zh-CN"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nvGrpSpPr>
          <p:cNvPr id="31" name="Group 30">
            <a:extLst>
              <a:ext uri="{FF2B5EF4-FFF2-40B4-BE49-F238E27FC236}">
                <a16:creationId xmlns:a16="http://schemas.microsoft.com/office/drawing/2014/main" id="{0ABF3D45-C19A-4269-8095-707A5EA563CE}"/>
              </a:ext>
            </a:extLst>
          </p:cNvPr>
          <p:cNvGrpSpPr/>
          <p:nvPr/>
        </p:nvGrpSpPr>
        <p:grpSpPr>
          <a:xfrm>
            <a:off x="6841652" y="4488421"/>
            <a:ext cx="4492775" cy="1599433"/>
            <a:chOff x="8247388" y="3697219"/>
            <a:chExt cx="4492775" cy="1599433"/>
          </a:xfrm>
        </p:grpSpPr>
        <p:sp>
          <p:nvSpPr>
            <p:cNvPr id="14" name="矩形 72">
              <a:extLst>
                <a:ext uri="{FF2B5EF4-FFF2-40B4-BE49-F238E27FC236}">
                  <a16:creationId xmlns:a16="http://schemas.microsoft.com/office/drawing/2014/main" id="{024ECC5C-64BC-41BD-91D0-D4CD77FECF8A}"/>
                </a:ext>
              </a:extLst>
            </p:cNvPr>
            <p:cNvSpPr/>
            <p:nvPr/>
          </p:nvSpPr>
          <p:spPr>
            <a:xfrm>
              <a:off x="8247389" y="3726877"/>
              <a:ext cx="4492774" cy="1569775"/>
            </a:xfrm>
            <a:prstGeom prst="rect">
              <a:avLst/>
            </a:prstGeom>
            <a:no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64">
              <a:extLst>
                <a:ext uri="{FF2B5EF4-FFF2-40B4-BE49-F238E27FC236}">
                  <a16:creationId xmlns:a16="http://schemas.microsoft.com/office/drawing/2014/main" id="{C1D3BDE4-11A3-4EE0-A1BF-0DD499E20DCF}"/>
                </a:ext>
              </a:extLst>
            </p:cNvPr>
            <p:cNvSpPr/>
            <p:nvPr/>
          </p:nvSpPr>
          <p:spPr>
            <a:xfrm>
              <a:off x="8247388" y="3697219"/>
              <a:ext cx="4492773" cy="457200"/>
            </a:xfrm>
            <a:prstGeom prst="rect">
              <a:avLst/>
            </a:prstGeom>
            <a:solidFill>
              <a:srgbClr val="A3162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 诊疗能力考核</a:t>
              </a:r>
              <a:endParaRPr lang="en-US" altLang="zh-CN"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9" name="Rectangle 18">
              <a:extLst>
                <a:ext uri="{FF2B5EF4-FFF2-40B4-BE49-F238E27FC236}">
                  <a16:creationId xmlns:a16="http://schemas.microsoft.com/office/drawing/2014/main" id="{D9D96126-B117-468E-ADA0-FF1516C56ADA}"/>
                </a:ext>
              </a:extLst>
            </p:cNvPr>
            <p:cNvSpPr/>
            <p:nvPr/>
          </p:nvSpPr>
          <p:spPr>
            <a:xfrm>
              <a:off x="8326824" y="4176435"/>
              <a:ext cx="2866008" cy="1077218"/>
            </a:xfrm>
            <a:prstGeom prst="rect">
              <a:avLst/>
            </a:prstGeom>
          </p:spPr>
          <p:txBody>
            <a:bodyPr wrap="square">
              <a:spAutoFit/>
            </a:bodyPr>
            <a:lstStyle/>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有明确诊断患者数量</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生活质量评估</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实验室检查上传</a:t>
              </a:r>
              <a:endParaRPr lang="en-US" altLang="zh-CN" sz="1600" dirty="0">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随访率</a:t>
              </a:r>
              <a:endParaRPr lang="en-US" altLang="zh-CN" sz="1600" dirty="0">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9" name="Group 8">
            <a:extLst>
              <a:ext uri="{FF2B5EF4-FFF2-40B4-BE49-F238E27FC236}">
                <a16:creationId xmlns:a16="http://schemas.microsoft.com/office/drawing/2014/main" id="{BC2F2814-7FB1-476F-846A-95CD203A2320}"/>
              </a:ext>
            </a:extLst>
          </p:cNvPr>
          <p:cNvGrpSpPr/>
          <p:nvPr/>
        </p:nvGrpSpPr>
        <p:grpSpPr>
          <a:xfrm>
            <a:off x="6841652" y="2604167"/>
            <a:ext cx="4512148" cy="1758695"/>
            <a:chOff x="453002" y="3546068"/>
            <a:chExt cx="4221331" cy="2459524"/>
          </a:xfrm>
        </p:grpSpPr>
        <p:sp>
          <p:nvSpPr>
            <p:cNvPr id="13" name="矩形 71">
              <a:extLst>
                <a:ext uri="{FF2B5EF4-FFF2-40B4-BE49-F238E27FC236}">
                  <a16:creationId xmlns:a16="http://schemas.microsoft.com/office/drawing/2014/main" id="{72733405-7DD2-47E6-A3FA-F89F0328E3E7}"/>
                </a:ext>
              </a:extLst>
            </p:cNvPr>
            <p:cNvSpPr/>
            <p:nvPr/>
          </p:nvSpPr>
          <p:spPr>
            <a:xfrm>
              <a:off x="453002" y="3650521"/>
              <a:ext cx="4154648" cy="2355071"/>
            </a:xfrm>
            <a:prstGeom prst="rect">
              <a:avLst/>
            </a:prstGeom>
            <a:no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7" name="Rectangle 63">
              <a:extLst>
                <a:ext uri="{FF2B5EF4-FFF2-40B4-BE49-F238E27FC236}">
                  <a16:creationId xmlns:a16="http://schemas.microsoft.com/office/drawing/2014/main" id="{F9CA4699-97F6-49F1-A693-7F9E474C3EB7}"/>
                </a:ext>
              </a:extLst>
            </p:cNvPr>
            <p:cNvSpPr/>
            <p:nvPr/>
          </p:nvSpPr>
          <p:spPr>
            <a:xfrm>
              <a:off x="453002" y="3546068"/>
              <a:ext cx="4154647" cy="780872"/>
            </a:xfrm>
            <a:prstGeom prst="rect">
              <a:avLst/>
            </a:prstGeom>
            <a:solidFill>
              <a:srgbClr val="A3162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    培训与数据库管理考核</a:t>
              </a:r>
              <a:endParaRPr lang="en-US" altLang="zh-CN"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7" name="Rectangle 16">
              <a:extLst>
                <a:ext uri="{FF2B5EF4-FFF2-40B4-BE49-F238E27FC236}">
                  <a16:creationId xmlns:a16="http://schemas.microsoft.com/office/drawing/2014/main" id="{78CDE363-A544-456A-B31F-2E433564AFE8}"/>
                </a:ext>
              </a:extLst>
            </p:cNvPr>
            <p:cNvSpPr/>
            <p:nvPr/>
          </p:nvSpPr>
          <p:spPr>
            <a:xfrm>
              <a:off x="527318" y="4326941"/>
              <a:ext cx="4147015" cy="1506483"/>
            </a:xfrm>
            <a:prstGeom prst="rect">
              <a:avLst/>
            </a:prstGeom>
          </p:spPr>
          <p:txBody>
            <a:bodyPr wrap="square">
              <a:spAutoFit/>
            </a:bodyPr>
            <a:lstStyle/>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培训与教育</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数据库管理</a:t>
              </a: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病例录入数量及有效病例数 </a:t>
              </a:r>
              <a:endParaRPr lang="en-US" altLang="zh-CN" sz="1600" dirty="0">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皮损照片上传完整率</a:t>
              </a:r>
            </a:p>
          </p:txBody>
        </p:sp>
      </p:grpSp>
      <p:grpSp>
        <p:nvGrpSpPr>
          <p:cNvPr id="30" name="Group 29">
            <a:extLst>
              <a:ext uri="{FF2B5EF4-FFF2-40B4-BE49-F238E27FC236}">
                <a16:creationId xmlns:a16="http://schemas.microsoft.com/office/drawing/2014/main" id="{F0BAA9EA-D176-43F5-9A18-05914711B975}"/>
              </a:ext>
            </a:extLst>
          </p:cNvPr>
          <p:cNvGrpSpPr/>
          <p:nvPr/>
        </p:nvGrpSpPr>
        <p:grpSpPr>
          <a:xfrm>
            <a:off x="160659" y="1948247"/>
            <a:ext cx="4191000" cy="2961505"/>
            <a:chOff x="3859339" y="1513443"/>
            <a:chExt cx="4191000" cy="2961505"/>
          </a:xfrm>
        </p:grpSpPr>
        <p:grpSp>
          <p:nvGrpSpPr>
            <p:cNvPr id="3" name="Group 2">
              <a:extLst>
                <a:ext uri="{FF2B5EF4-FFF2-40B4-BE49-F238E27FC236}">
                  <a16:creationId xmlns:a16="http://schemas.microsoft.com/office/drawing/2014/main" id="{2F7E55F8-25A5-4430-9348-B6EF407ACF4F}"/>
                </a:ext>
              </a:extLst>
            </p:cNvPr>
            <p:cNvGrpSpPr/>
            <p:nvPr/>
          </p:nvGrpSpPr>
          <p:grpSpPr>
            <a:xfrm>
              <a:off x="3859339" y="1513443"/>
              <a:ext cx="4191000" cy="2961505"/>
              <a:chOff x="1528787" y="2661674"/>
              <a:chExt cx="1741774" cy="1220759"/>
            </a:xfrm>
          </p:grpSpPr>
          <p:pic>
            <p:nvPicPr>
              <p:cNvPr id="12" name="Graphic 234">
                <a:extLst>
                  <a:ext uri="{FF2B5EF4-FFF2-40B4-BE49-F238E27FC236}">
                    <a16:creationId xmlns:a16="http://schemas.microsoft.com/office/drawing/2014/main" id="{E583059A-3B01-409C-8D53-372CA068AC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8787" y="2661674"/>
                <a:ext cx="517795" cy="541533"/>
              </a:xfrm>
              <a:prstGeom prst="rect">
                <a:avLst/>
              </a:prstGeom>
            </p:spPr>
          </p:pic>
          <p:sp>
            <p:nvSpPr>
              <p:cNvPr id="16" name="isļîďe">
                <a:extLst>
                  <a:ext uri="{FF2B5EF4-FFF2-40B4-BE49-F238E27FC236}">
                    <a16:creationId xmlns:a16="http://schemas.microsoft.com/office/drawing/2014/main" id="{6B491B08-44D3-4AB7-920D-ECA8107EEE2E}"/>
                  </a:ext>
                </a:extLst>
              </p:cNvPr>
              <p:cNvSpPr/>
              <p:nvPr/>
            </p:nvSpPr>
            <p:spPr>
              <a:xfrm>
                <a:off x="2372165" y="3495520"/>
                <a:ext cx="787889" cy="386913"/>
              </a:xfrm>
              <a:custGeom>
                <a:avLst/>
                <a:gdLst/>
                <a:ahLst/>
                <a:cxnLst>
                  <a:cxn ang="0">
                    <a:pos x="wd2" y="hd2"/>
                  </a:cxn>
                  <a:cxn ang="5400000">
                    <a:pos x="wd2" y="hd2"/>
                  </a:cxn>
                  <a:cxn ang="10800000">
                    <a:pos x="wd2" y="hd2"/>
                  </a:cxn>
                  <a:cxn ang="16200000">
                    <a:pos x="wd2" y="hd2"/>
                  </a:cxn>
                </a:cxnLst>
                <a:rect l="0" t="0" r="r" b="b"/>
                <a:pathLst>
                  <a:path w="21600" h="21600" extrusionOk="0">
                    <a:moveTo>
                      <a:pt x="17950" y="0"/>
                    </a:moveTo>
                    <a:cubicBezTo>
                      <a:pt x="16358" y="8270"/>
                      <a:pt x="12511" y="13614"/>
                      <a:pt x="8151" y="13614"/>
                    </a:cubicBezTo>
                    <a:cubicBezTo>
                      <a:pt x="6842" y="13614"/>
                      <a:pt x="5553" y="13116"/>
                      <a:pt x="4321" y="12134"/>
                    </a:cubicBezTo>
                    <a:lnTo>
                      <a:pt x="4685" y="10242"/>
                    </a:lnTo>
                    <a:lnTo>
                      <a:pt x="0" y="12967"/>
                    </a:lnTo>
                    <a:lnTo>
                      <a:pt x="2527" y="21453"/>
                    </a:lnTo>
                    <a:lnTo>
                      <a:pt x="2889" y="19569"/>
                    </a:lnTo>
                    <a:cubicBezTo>
                      <a:pt x="4579" y="20916"/>
                      <a:pt x="6349" y="21600"/>
                      <a:pt x="8151" y="21600"/>
                    </a:cubicBezTo>
                    <a:cubicBezTo>
                      <a:pt x="11022" y="21600"/>
                      <a:pt x="13805" y="19874"/>
                      <a:pt x="16199" y="16609"/>
                    </a:cubicBezTo>
                    <a:cubicBezTo>
                      <a:pt x="18651" y="13265"/>
                      <a:pt x="20519" y="8530"/>
                      <a:pt x="21600" y="2916"/>
                    </a:cubicBezTo>
                    <a:cubicBezTo>
                      <a:pt x="21600" y="2916"/>
                      <a:pt x="17950" y="0"/>
                      <a:pt x="17950" y="0"/>
                    </a:cubicBezTo>
                    <a:close/>
                  </a:path>
                </a:pathLst>
              </a:custGeom>
              <a:solidFill>
                <a:schemeClr val="accent2">
                  <a:lumMod val="20000"/>
                  <a:lumOff val="80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í$ḷidè">
                <a:extLst>
                  <a:ext uri="{FF2B5EF4-FFF2-40B4-BE49-F238E27FC236}">
                    <a16:creationId xmlns:a16="http://schemas.microsoft.com/office/drawing/2014/main" id="{437048E4-45F7-460D-B56D-FB9DE3586685}"/>
                  </a:ext>
                </a:extLst>
              </p:cNvPr>
              <p:cNvSpPr/>
              <p:nvPr/>
            </p:nvSpPr>
            <p:spPr>
              <a:xfrm>
                <a:off x="2144606" y="2910854"/>
                <a:ext cx="353117" cy="772535"/>
              </a:xfrm>
              <a:custGeom>
                <a:avLst/>
                <a:gdLst/>
                <a:ahLst/>
                <a:cxnLst>
                  <a:cxn ang="0">
                    <a:pos x="wd2" y="hd2"/>
                  </a:cxn>
                  <a:cxn ang="5400000">
                    <a:pos x="wd2" y="hd2"/>
                  </a:cxn>
                  <a:cxn ang="10800000">
                    <a:pos x="wd2" y="hd2"/>
                  </a:cxn>
                  <a:cxn ang="16200000">
                    <a:pos x="wd2" y="hd2"/>
                  </a:cxn>
                </a:cxnLst>
                <a:rect l="0" t="0" r="r" b="b"/>
                <a:pathLst>
                  <a:path w="21251" h="21600" extrusionOk="0">
                    <a:moveTo>
                      <a:pt x="13651" y="19106"/>
                    </a:moveTo>
                    <a:cubicBezTo>
                      <a:pt x="7680" y="15628"/>
                      <a:pt x="6914" y="10891"/>
                      <a:pt x="11700" y="7039"/>
                    </a:cubicBezTo>
                    <a:cubicBezTo>
                      <a:pt x="13137" y="5882"/>
                      <a:pt x="15017" y="4869"/>
                      <a:pt x="17285" y="4026"/>
                    </a:cubicBezTo>
                    <a:lnTo>
                      <a:pt x="18651" y="4821"/>
                    </a:lnTo>
                    <a:lnTo>
                      <a:pt x="21251" y="0"/>
                    </a:lnTo>
                    <a:lnTo>
                      <a:pt x="10557" y="107"/>
                    </a:lnTo>
                    <a:lnTo>
                      <a:pt x="11917" y="899"/>
                    </a:lnTo>
                    <a:cubicBezTo>
                      <a:pt x="8805" y="2055"/>
                      <a:pt x="6224" y="3448"/>
                      <a:pt x="4247" y="5039"/>
                    </a:cubicBezTo>
                    <a:cubicBezTo>
                      <a:pt x="1095" y="7576"/>
                      <a:pt x="-349" y="10466"/>
                      <a:pt x="71" y="13399"/>
                    </a:cubicBezTo>
                    <a:cubicBezTo>
                      <a:pt x="500" y="16403"/>
                      <a:pt x="2870" y="19239"/>
                      <a:pt x="6923" y="21600"/>
                    </a:cubicBezTo>
                    <a:cubicBezTo>
                      <a:pt x="6923" y="21600"/>
                      <a:pt x="13651" y="19106"/>
                      <a:pt x="13651" y="19106"/>
                    </a:cubicBezTo>
                    <a:close/>
                  </a:path>
                </a:pathLst>
              </a:custGeom>
              <a:solidFill>
                <a:schemeClr val="accent2">
                  <a:lumMod val="20000"/>
                  <a:lumOff val="80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íṩ1îďé">
                <a:extLst>
                  <a:ext uri="{FF2B5EF4-FFF2-40B4-BE49-F238E27FC236}">
                    <a16:creationId xmlns:a16="http://schemas.microsoft.com/office/drawing/2014/main" id="{6F2ED15C-1B7A-42B9-9D1D-423F0B02A39F}"/>
                  </a:ext>
                </a:extLst>
              </p:cNvPr>
              <p:cNvSpPr/>
              <p:nvPr/>
            </p:nvSpPr>
            <p:spPr>
              <a:xfrm>
                <a:off x="2590800" y="2830518"/>
                <a:ext cx="635356" cy="598482"/>
              </a:xfrm>
              <a:custGeom>
                <a:avLst/>
                <a:gdLst/>
                <a:ahLst/>
                <a:cxnLst>
                  <a:cxn ang="0">
                    <a:pos x="wd2" y="hd2"/>
                  </a:cxn>
                  <a:cxn ang="5400000">
                    <a:pos x="wd2" y="hd2"/>
                  </a:cxn>
                  <a:cxn ang="10800000">
                    <a:pos x="wd2" y="hd2"/>
                  </a:cxn>
                  <a:cxn ang="16200000">
                    <a:pos x="wd2" y="hd2"/>
                  </a:cxn>
                </a:cxnLst>
                <a:rect l="0" t="0" r="r" b="b"/>
                <a:pathLst>
                  <a:path w="21600" h="21240" extrusionOk="0">
                    <a:moveTo>
                      <a:pt x="726" y="5232"/>
                    </a:moveTo>
                    <a:cubicBezTo>
                      <a:pt x="6074" y="4389"/>
                      <a:pt x="11276" y="7004"/>
                      <a:pt x="13980" y="11894"/>
                    </a:cubicBezTo>
                    <a:cubicBezTo>
                      <a:pt x="14791" y="13362"/>
                      <a:pt x="15328" y="14965"/>
                      <a:pt x="15574" y="16659"/>
                    </a:cubicBezTo>
                    <a:lnTo>
                      <a:pt x="14351" y="16852"/>
                    </a:lnTo>
                    <a:lnTo>
                      <a:pt x="18692" y="21240"/>
                    </a:lnTo>
                    <a:lnTo>
                      <a:pt x="21600" y="15709"/>
                    </a:lnTo>
                    <a:lnTo>
                      <a:pt x="20382" y="15901"/>
                    </a:lnTo>
                    <a:cubicBezTo>
                      <a:pt x="20044" y="13578"/>
                      <a:pt x="19307" y="11376"/>
                      <a:pt x="18190" y="9356"/>
                    </a:cubicBezTo>
                    <a:cubicBezTo>
                      <a:pt x="16410" y="6136"/>
                      <a:pt x="13775" y="3564"/>
                      <a:pt x="10569" y="1917"/>
                    </a:cubicBezTo>
                    <a:cubicBezTo>
                      <a:pt x="7285" y="229"/>
                      <a:pt x="3630" y="-360"/>
                      <a:pt x="0" y="212"/>
                    </a:cubicBezTo>
                    <a:cubicBezTo>
                      <a:pt x="0" y="212"/>
                      <a:pt x="726" y="5232"/>
                      <a:pt x="726" y="5232"/>
                    </a:cubicBezTo>
                    <a:close/>
                  </a:path>
                </a:pathLst>
              </a:custGeom>
              <a:solidFill>
                <a:schemeClr val="accent2">
                  <a:lumMod val="20000"/>
                  <a:lumOff val="80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dirty="0">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1" name="ïṣḻîḍè">
                <a:extLst>
                  <a:ext uri="{FF2B5EF4-FFF2-40B4-BE49-F238E27FC236}">
                    <a16:creationId xmlns:a16="http://schemas.microsoft.com/office/drawing/2014/main" id="{C5DEB0E6-8DF2-481D-9D1E-06F845D3CADB}"/>
                  </a:ext>
                </a:extLst>
              </p:cNvPr>
              <p:cNvGrpSpPr/>
              <p:nvPr/>
            </p:nvGrpSpPr>
            <p:grpSpPr>
              <a:xfrm>
                <a:off x="2475844" y="2689719"/>
                <a:ext cx="387244" cy="387332"/>
                <a:chOff x="5681840" y="2979256"/>
                <a:chExt cx="828320" cy="828508"/>
              </a:xfrm>
            </p:grpSpPr>
            <p:sp>
              <p:nvSpPr>
                <p:cNvPr id="22" name="íṣ1ïďé">
                  <a:extLst>
                    <a:ext uri="{FF2B5EF4-FFF2-40B4-BE49-F238E27FC236}">
                      <a16:creationId xmlns:a16="http://schemas.microsoft.com/office/drawing/2014/main" id="{8620A641-2C2E-4214-8BD7-F96F7E52DF2B}"/>
                    </a:ext>
                  </a:extLst>
                </p:cNvPr>
                <p:cNvSpPr/>
                <p:nvPr/>
              </p:nvSpPr>
              <p:spPr>
                <a:xfrm>
                  <a:off x="5681840" y="2979256"/>
                  <a:ext cx="828320" cy="82850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4835"/>
                        <a:pt x="4836" y="0"/>
                        <a:pt x="10800" y="0"/>
                      </a:cubicBezTo>
                      <a:cubicBezTo>
                        <a:pt x="16765" y="0"/>
                        <a:pt x="21600" y="4835"/>
                        <a:pt x="21600" y="10800"/>
                      </a:cubicBezTo>
                      <a:cubicBezTo>
                        <a:pt x="21600" y="16764"/>
                        <a:pt x="16765" y="21600"/>
                        <a:pt x="10800" y="21600"/>
                      </a:cubicBezTo>
                      <a:cubicBezTo>
                        <a:pt x="4836" y="21600"/>
                        <a:pt x="0" y="16764"/>
                        <a:pt x="0" y="10800"/>
                      </a:cubicBezTo>
                      <a:close/>
                    </a:path>
                  </a:pathLst>
                </a:custGeom>
                <a:solidFill>
                  <a:srgbClr val="A31620"/>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íśḷîḓê">
                  <a:extLst>
                    <a:ext uri="{FF2B5EF4-FFF2-40B4-BE49-F238E27FC236}">
                      <a16:creationId xmlns:a16="http://schemas.microsoft.com/office/drawing/2014/main" id="{D459DD23-5C4E-4D8A-81A8-D9785DD02246}"/>
                    </a:ext>
                  </a:extLst>
                </p:cNvPr>
                <p:cNvSpPr/>
                <p:nvPr/>
              </p:nvSpPr>
              <p:spPr>
                <a:xfrm>
                  <a:off x="5903703" y="3139657"/>
                  <a:ext cx="384594" cy="507704"/>
                </a:xfrm>
                <a:custGeom>
                  <a:avLst/>
                  <a:gdLst>
                    <a:gd name="connsiteX0" fmla="*/ 55845 w 426738"/>
                    <a:gd name="connsiteY0" fmla="*/ 536580 h 563337"/>
                    <a:gd name="connsiteX1" fmla="*/ 371677 w 426738"/>
                    <a:gd name="connsiteY1" fmla="*/ 536580 h 563337"/>
                    <a:gd name="connsiteX2" fmla="*/ 371677 w 426738"/>
                    <a:gd name="connsiteY2" fmla="*/ 563337 h 563337"/>
                    <a:gd name="connsiteX3" fmla="*/ 55845 w 426738"/>
                    <a:gd name="connsiteY3" fmla="*/ 563337 h 563337"/>
                    <a:gd name="connsiteX4" fmla="*/ 113334 w 426738"/>
                    <a:gd name="connsiteY4" fmla="*/ 402793 h 563337"/>
                    <a:gd name="connsiteX5" fmla="*/ 321984 w 426738"/>
                    <a:gd name="connsiteY5" fmla="*/ 402793 h 563337"/>
                    <a:gd name="connsiteX6" fmla="*/ 321984 w 426738"/>
                    <a:gd name="connsiteY6" fmla="*/ 523679 h 563337"/>
                    <a:gd name="connsiteX7" fmla="*/ 318010 w 426738"/>
                    <a:gd name="connsiteY7" fmla="*/ 523679 h 563337"/>
                    <a:gd name="connsiteX8" fmla="*/ 113334 w 426738"/>
                    <a:gd name="connsiteY8" fmla="*/ 523679 h 563337"/>
                    <a:gd name="connsiteX9" fmla="*/ 290306 w 426738"/>
                    <a:gd name="connsiteY9" fmla="*/ 252920 h 563337"/>
                    <a:gd name="connsiteX10" fmla="*/ 339972 w 426738"/>
                    <a:gd name="connsiteY10" fmla="*/ 261846 h 563337"/>
                    <a:gd name="connsiteX11" fmla="*/ 366791 w 426738"/>
                    <a:gd name="connsiteY11" fmla="*/ 287633 h 563337"/>
                    <a:gd name="connsiteX12" fmla="*/ 425397 w 426738"/>
                    <a:gd name="connsiteY12" fmla="*/ 480040 h 563337"/>
                    <a:gd name="connsiteX13" fmla="*/ 419437 w 426738"/>
                    <a:gd name="connsiteY13" fmla="*/ 510786 h 563337"/>
                    <a:gd name="connsiteX14" fmla="*/ 391624 w 426738"/>
                    <a:gd name="connsiteY14" fmla="*/ 523679 h 563337"/>
                    <a:gd name="connsiteX15" fmla="*/ 350898 w 426738"/>
                    <a:gd name="connsiteY15" fmla="*/ 523679 h 563337"/>
                    <a:gd name="connsiteX16" fmla="*/ 350898 w 426738"/>
                    <a:gd name="connsiteY16" fmla="*/ 387804 h 563337"/>
                    <a:gd name="connsiteX17" fmla="*/ 335999 w 426738"/>
                    <a:gd name="connsiteY17" fmla="*/ 373919 h 563337"/>
                    <a:gd name="connsiteX18" fmla="*/ 222760 w 426738"/>
                    <a:gd name="connsiteY18" fmla="*/ 373919 h 563337"/>
                    <a:gd name="connsiteX19" fmla="*/ 137229 w 426738"/>
                    <a:gd name="connsiteY19" fmla="*/ 251965 h 563337"/>
                    <a:gd name="connsiteX20" fmla="*/ 204762 w 426738"/>
                    <a:gd name="connsiteY20" fmla="*/ 373939 h 563337"/>
                    <a:gd name="connsiteX21" fmla="*/ 98496 w 426738"/>
                    <a:gd name="connsiteY21" fmla="*/ 373939 h 563337"/>
                    <a:gd name="connsiteX22" fmla="*/ 84592 w 426738"/>
                    <a:gd name="connsiteY22" fmla="*/ 387822 h 563337"/>
                    <a:gd name="connsiteX23" fmla="*/ 84592 w 426738"/>
                    <a:gd name="connsiteY23" fmla="*/ 523679 h 563337"/>
                    <a:gd name="connsiteX24" fmla="*/ 34935 w 426738"/>
                    <a:gd name="connsiteY24" fmla="*/ 523679 h 563337"/>
                    <a:gd name="connsiteX25" fmla="*/ 7127 w 426738"/>
                    <a:gd name="connsiteY25" fmla="*/ 510787 h 563337"/>
                    <a:gd name="connsiteX26" fmla="*/ 1168 w 426738"/>
                    <a:gd name="connsiteY26" fmla="*/ 480046 h 563337"/>
                    <a:gd name="connsiteX27" fmla="*/ 60757 w 426738"/>
                    <a:gd name="connsiteY27" fmla="*/ 287665 h 563337"/>
                    <a:gd name="connsiteX28" fmla="*/ 87571 w 426738"/>
                    <a:gd name="connsiteY28" fmla="*/ 262873 h 563337"/>
                    <a:gd name="connsiteX29" fmla="*/ 151134 w 426738"/>
                    <a:gd name="connsiteY29" fmla="*/ 119058 h 563337"/>
                    <a:gd name="connsiteX30" fmla="*/ 140207 w 426738"/>
                    <a:gd name="connsiteY30" fmla="*/ 143862 h 563337"/>
                    <a:gd name="connsiteX31" fmla="*/ 136233 w 426738"/>
                    <a:gd name="connsiteY31" fmla="*/ 145847 h 563337"/>
                    <a:gd name="connsiteX32" fmla="*/ 119345 w 426738"/>
                    <a:gd name="connsiteY32" fmla="*/ 142870 h 563337"/>
                    <a:gd name="connsiteX33" fmla="*/ 115371 w 426738"/>
                    <a:gd name="connsiteY33" fmla="*/ 146839 h 563337"/>
                    <a:gd name="connsiteX34" fmla="*/ 114378 w 426738"/>
                    <a:gd name="connsiteY34" fmla="*/ 160729 h 563337"/>
                    <a:gd name="connsiteX35" fmla="*/ 116365 w 426738"/>
                    <a:gd name="connsiteY35" fmla="*/ 166682 h 563337"/>
                    <a:gd name="connsiteX36" fmla="*/ 122325 w 426738"/>
                    <a:gd name="connsiteY36" fmla="*/ 177596 h 563337"/>
                    <a:gd name="connsiteX37" fmla="*/ 125306 w 426738"/>
                    <a:gd name="connsiteY37" fmla="*/ 181564 h 563337"/>
                    <a:gd name="connsiteX38" fmla="*/ 213719 w 426738"/>
                    <a:gd name="connsiteY38" fmla="*/ 261929 h 563337"/>
                    <a:gd name="connsiteX39" fmla="*/ 300146 w 426738"/>
                    <a:gd name="connsiteY39" fmla="*/ 181564 h 563337"/>
                    <a:gd name="connsiteX40" fmla="*/ 303126 w 426738"/>
                    <a:gd name="connsiteY40" fmla="*/ 176603 h 563337"/>
                    <a:gd name="connsiteX41" fmla="*/ 309087 w 426738"/>
                    <a:gd name="connsiteY41" fmla="*/ 165690 h 563337"/>
                    <a:gd name="connsiteX42" fmla="*/ 311073 w 426738"/>
                    <a:gd name="connsiteY42" fmla="*/ 160729 h 563337"/>
                    <a:gd name="connsiteX43" fmla="*/ 310080 w 426738"/>
                    <a:gd name="connsiteY43" fmla="*/ 145847 h 563337"/>
                    <a:gd name="connsiteX44" fmla="*/ 306106 w 426738"/>
                    <a:gd name="connsiteY44" fmla="*/ 141878 h 563337"/>
                    <a:gd name="connsiteX45" fmla="*/ 286238 w 426738"/>
                    <a:gd name="connsiteY45" fmla="*/ 147831 h 563337"/>
                    <a:gd name="connsiteX46" fmla="*/ 285245 w 426738"/>
                    <a:gd name="connsiteY46" fmla="*/ 147831 h 563337"/>
                    <a:gd name="connsiteX47" fmla="*/ 281271 w 426738"/>
                    <a:gd name="connsiteY47" fmla="*/ 145847 h 563337"/>
                    <a:gd name="connsiteX48" fmla="*/ 274317 w 426738"/>
                    <a:gd name="connsiteY48" fmla="*/ 128980 h 563337"/>
                    <a:gd name="connsiteX49" fmla="*/ 246502 w 426738"/>
                    <a:gd name="connsiteY49" fmla="*/ 131957 h 563337"/>
                    <a:gd name="connsiteX50" fmla="*/ 151134 w 426738"/>
                    <a:gd name="connsiteY50" fmla="*/ 119058 h 563337"/>
                    <a:gd name="connsiteX51" fmla="*/ 212726 w 426738"/>
                    <a:gd name="connsiteY51" fmla="*/ 0 h 563337"/>
                    <a:gd name="connsiteX52" fmla="*/ 320014 w 426738"/>
                    <a:gd name="connsiteY52" fmla="*/ 133941 h 563337"/>
                    <a:gd name="connsiteX53" fmla="*/ 320014 w 426738"/>
                    <a:gd name="connsiteY53" fmla="*/ 134933 h 563337"/>
                    <a:gd name="connsiteX54" fmla="*/ 323988 w 426738"/>
                    <a:gd name="connsiteY54" fmla="*/ 166682 h 563337"/>
                    <a:gd name="connsiteX55" fmla="*/ 322001 w 426738"/>
                    <a:gd name="connsiteY55" fmla="*/ 171643 h 563337"/>
                    <a:gd name="connsiteX56" fmla="*/ 313060 w 426738"/>
                    <a:gd name="connsiteY56" fmla="*/ 187517 h 563337"/>
                    <a:gd name="connsiteX57" fmla="*/ 213719 w 426738"/>
                    <a:gd name="connsiteY57" fmla="*/ 276811 h 563337"/>
                    <a:gd name="connsiteX58" fmla="*/ 112391 w 426738"/>
                    <a:gd name="connsiteY58" fmla="*/ 188509 h 563337"/>
                    <a:gd name="connsiteX59" fmla="*/ 103451 w 426738"/>
                    <a:gd name="connsiteY59" fmla="*/ 171643 h 563337"/>
                    <a:gd name="connsiteX60" fmla="*/ 101464 w 426738"/>
                    <a:gd name="connsiteY60" fmla="*/ 167674 h 563337"/>
                    <a:gd name="connsiteX61" fmla="*/ 105437 w 426738"/>
                    <a:gd name="connsiteY61" fmla="*/ 135925 h 563337"/>
                    <a:gd name="connsiteX62" fmla="*/ 105437 w 426738"/>
                    <a:gd name="connsiteY62" fmla="*/ 133941 h 563337"/>
                    <a:gd name="connsiteX63" fmla="*/ 212726 w 426738"/>
                    <a:gd name="connsiteY63" fmla="*/ 0 h 56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26738" h="563337">
                      <a:moveTo>
                        <a:pt x="55845" y="536580"/>
                      </a:moveTo>
                      <a:lnTo>
                        <a:pt x="371677" y="536580"/>
                      </a:lnTo>
                      <a:lnTo>
                        <a:pt x="371677" y="563337"/>
                      </a:lnTo>
                      <a:lnTo>
                        <a:pt x="55845" y="563337"/>
                      </a:lnTo>
                      <a:close/>
                      <a:moveTo>
                        <a:pt x="113334" y="402793"/>
                      </a:moveTo>
                      <a:lnTo>
                        <a:pt x="321984" y="402793"/>
                      </a:lnTo>
                      <a:lnTo>
                        <a:pt x="321984" y="523679"/>
                      </a:lnTo>
                      <a:lnTo>
                        <a:pt x="318010" y="523679"/>
                      </a:lnTo>
                      <a:lnTo>
                        <a:pt x="113334" y="523679"/>
                      </a:lnTo>
                      <a:close/>
                      <a:moveTo>
                        <a:pt x="290306" y="252920"/>
                      </a:moveTo>
                      <a:lnTo>
                        <a:pt x="339972" y="261846"/>
                      </a:lnTo>
                      <a:cubicBezTo>
                        <a:pt x="352885" y="264821"/>
                        <a:pt x="363812" y="274739"/>
                        <a:pt x="366791" y="287633"/>
                      </a:cubicBezTo>
                      <a:lnTo>
                        <a:pt x="425397" y="480040"/>
                      </a:lnTo>
                      <a:cubicBezTo>
                        <a:pt x="428377" y="490950"/>
                        <a:pt x="426391" y="501860"/>
                        <a:pt x="419437" y="510786"/>
                      </a:cubicBezTo>
                      <a:cubicBezTo>
                        <a:pt x="413477" y="518720"/>
                        <a:pt x="402551" y="523679"/>
                        <a:pt x="391624" y="523679"/>
                      </a:cubicBezTo>
                      <a:lnTo>
                        <a:pt x="350898" y="523679"/>
                      </a:lnTo>
                      <a:lnTo>
                        <a:pt x="350898" y="387804"/>
                      </a:lnTo>
                      <a:lnTo>
                        <a:pt x="335999" y="373919"/>
                      </a:lnTo>
                      <a:lnTo>
                        <a:pt x="222760" y="373919"/>
                      </a:lnTo>
                      <a:close/>
                      <a:moveTo>
                        <a:pt x="137229" y="251965"/>
                      </a:moveTo>
                      <a:lnTo>
                        <a:pt x="204762" y="373939"/>
                      </a:lnTo>
                      <a:lnTo>
                        <a:pt x="98496" y="373939"/>
                      </a:lnTo>
                      <a:lnTo>
                        <a:pt x="84592" y="387822"/>
                      </a:lnTo>
                      <a:lnTo>
                        <a:pt x="84592" y="523679"/>
                      </a:lnTo>
                      <a:lnTo>
                        <a:pt x="34935" y="523679"/>
                      </a:lnTo>
                      <a:cubicBezTo>
                        <a:pt x="24010" y="523679"/>
                        <a:pt x="14079" y="518721"/>
                        <a:pt x="7127" y="510787"/>
                      </a:cubicBezTo>
                      <a:cubicBezTo>
                        <a:pt x="1168" y="501863"/>
                        <a:pt x="-1811" y="490954"/>
                        <a:pt x="1168" y="480046"/>
                      </a:cubicBezTo>
                      <a:lnTo>
                        <a:pt x="60757" y="287665"/>
                      </a:lnTo>
                      <a:cubicBezTo>
                        <a:pt x="63736" y="274773"/>
                        <a:pt x="74660" y="264857"/>
                        <a:pt x="87571" y="262873"/>
                      </a:cubicBezTo>
                      <a:close/>
                      <a:moveTo>
                        <a:pt x="151134" y="119058"/>
                      </a:moveTo>
                      <a:lnTo>
                        <a:pt x="140207" y="143862"/>
                      </a:lnTo>
                      <a:cubicBezTo>
                        <a:pt x="139213" y="144855"/>
                        <a:pt x="138220" y="145847"/>
                        <a:pt x="136233" y="145847"/>
                      </a:cubicBezTo>
                      <a:lnTo>
                        <a:pt x="119345" y="142870"/>
                      </a:lnTo>
                      <a:cubicBezTo>
                        <a:pt x="118352" y="144855"/>
                        <a:pt x="117358" y="145847"/>
                        <a:pt x="115371" y="146839"/>
                      </a:cubicBezTo>
                      <a:cubicBezTo>
                        <a:pt x="112391" y="147831"/>
                        <a:pt x="111398" y="154776"/>
                        <a:pt x="114378" y="160729"/>
                      </a:cubicBezTo>
                      <a:cubicBezTo>
                        <a:pt x="115371" y="162713"/>
                        <a:pt x="115371" y="164698"/>
                        <a:pt x="116365" y="166682"/>
                      </a:cubicBezTo>
                      <a:cubicBezTo>
                        <a:pt x="118352" y="169658"/>
                        <a:pt x="120339" y="175611"/>
                        <a:pt x="122325" y="177596"/>
                      </a:cubicBezTo>
                      <a:cubicBezTo>
                        <a:pt x="123319" y="178588"/>
                        <a:pt x="125306" y="179580"/>
                        <a:pt x="125306" y="181564"/>
                      </a:cubicBezTo>
                      <a:cubicBezTo>
                        <a:pt x="139213" y="229188"/>
                        <a:pt x="174976" y="261929"/>
                        <a:pt x="213719" y="261929"/>
                      </a:cubicBezTo>
                      <a:cubicBezTo>
                        <a:pt x="251469" y="261929"/>
                        <a:pt x="287232" y="228195"/>
                        <a:pt x="300146" y="181564"/>
                      </a:cubicBezTo>
                      <a:cubicBezTo>
                        <a:pt x="300146" y="179580"/>
                        <a:pt x="302133" y="177596"/>
                        <a:pt x="303126" y="176603"/>
                      </a:cubicBezTo>
                      <a:cubicBezTo>
                        <a:pt x="305113" y="174619"/>
                        <a:pt x="307100" y="168666"/>
                        <a:pt x="309087" y="165690"/>
                      </a:cubicBezTo>
                      <a:cubicBezTo>
                        <a:pt x="309087" y="163705"/>
                        <a:pt x="310080" y="161721"/>
                        <a:pt x="311073" y="160729"/>
                      </a:cubicBezTo>
                      <a:cubicBezTo>
                        <a:pt x="314054" y="153784"/>
                        <a:pt x="313060" y="147831"/>
                        <a:pt x="310080" y="145847"/>
                      </a:cubicBezTo>
                      <a:cubicBezTo>
                        <a:pt x="308093" y="144855"/>
                        <a:pt x="306106" y="143862"/>
                        <a:pt x="306106" y="141878"/>
                      </a:cubicBezTo>
                      <a:lnTo>
                        <a:pt x="286238" y="147831"/>
                      </a:lnTo>
                      <a:cubicBezTo>
                        <a:pt x="285245" y="147831"/>
                        <a:pt x="285245" y="147831"/>
                        <a:pt x="285245" y="147831"/>
                      </a:cubicBezTo>
                      <a:cubicBezTo>
                        <a:pt x="283258" y="147831"/>
                        <a:pt x="282265" y="146839"/>
                        <a:pt x="281271" y="145847"/>
                      </a:cubicBezTo>
                      <a:lnTo>
                        <a:pt x="274317" y="128980"/>
                      </a:lnTo>
                      <a:cubicBezTo>
                        <a:pt x="267363" y="130964"/>
                        <a:pt x="257429" y="131957"/>
                        <a:pt x="246502" y="131957"/>
                      </a:cubicBezTo>
                      <a:cubicBezTo>
                        <a:pt x="209746" y="131957"/>
                        <a:pt x="163055" y="122035"/>
                        <a:pt x="151134" y="119058"/>
                      </a:cubicBezTo>
                      <a:close/>
                      <a:moveTo>
                        <a:pt x="212726" y="0"/>
                      </a:moveTo>
                      <a:cubicBezTo>
                        <a:pt x="311073" y="0"/>
                        <a:pt x="320014" y="68459"/>
                        <a:pt x="320014" y="133941"/>
                      </a:cubicBezTo>
                      <a:lnTo>
                        <a:pt x="320014" y="134933"/>
                      </a:lnTo>
                      <a:cubicBezTo>
                        <a:pt x="327961" y="140886"/>
                        <a:pt x="329948" y="154776"/>
                        <a:pt x="323988" y="166682"/>
                      </a:cubicBezTo>
                      <a:cubicBezTo>
                        <a:pt x="323988" y="167674"/>
                        <a:pt x="322994" y="169658"/>
                        <a:pt x="322001" y="171643"/>
                      </a:cubicBezTo>
                      <a:cubicBezTo>
                        <a:pt x="319021" y="178588"/>
                        <a:pt x="317034" y="184541"/>
                        <a:pt x="313060" y="187517"/>
                      </a:cubicBezTo>
                      <a:cubicBezTo>
                        <a:pt x="298159" y="240101"/>
                        <a:pt x="257429" y="275819"/>
                        <a:pt x="213719" y="276811"/>
                      </a:cubicBezTo>
                      <a:cubicBezTo>
                        <a:pt x="170009" y="276811"/>
                        <a:pt x="128286" y="240101"/>
                        <a:pt x="112391" y="188509"/>
                      </a:cubicBezTo>
                      <a:cubicBezTo>
                        <a:pt x="108418" y="184541"/>
                        <a:pt x="106431" y="179580"/>
                        <a:pt x="103451" y="171643"/>
                      </a:cubicBezTo>
                      <a:cubicBezTo>
                        <a:pt x="102457" y="170651"/>
                        <a:pt x="101464" y="168666"/>
                        <a:pt x="101464" y="167674"/>
                      </a:cubicBezTo>
                      <a:cubicBezTo>
                        <a:pt x="95503" y="154776"/>
                        <a:pt x="97490" y="141878"/>
                        <a:pt x="105437" y="135925"/>
                      </a:cubicBezTo>
                      <a:cubicBezTo>
                        <a:pt x="105437" y="134933"/>
                        <a:pt x="105437" y="134933"/>
                        <a:pt x="105437" y="133941"/>
                      </a:cubicBezTo>
                      <a:cubicBezTo>
                        <a:pt x="105437" y="66474"/>
                        <a:pt x="113385" y="0"/>
                        <a:pt x="212726" y="0"/>
                      </a:cubicBezTo>
                      <a:close/>
                    </a:path>
                  </a:pathLst>
                </a:custGeom>
                <a:solidFill>
                  <a:schemeClr val="bg1"/>
                </a:solidFill>
                <a:ln w="381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24" name="îsļide">
                <a:extLst>
                  <a:ext uri="{FF2B5EF4-FFF2-40B4-BE49-F238E27FC236}">
                    <a16:creationId xmlns:a16="http://schemas.microsoft.com/office/drawing/2014/main" id="{159C8DF2-3402-4A81-B18A-BBA6A2CFE5DB}"/>
                  </a:ext>
                </a:extLst>
              </p:cNvPr>
              <p:cNvSpPr/>
              <p:nvPr/>
            </p:nvSpPr>
            <p:spPr>
              <a:xfrm>
                <a:off x="2883261" y="3397682"/>
                <a:ext cx="387300" cy="387403"/>
              </a:xfrm>
              <a:custGeom>
                <a:avLst/>
                <a:gdLst/>
                <a:ahLst/>
                <a:cxnLst>
                  <a:cxn ang="0">
                    <a:pos x="wd2" y="hd2"/>
                  </a:cxn>
                  <a:cxn ang="5400000">
                    <a:pos x="wd2" y="hd2"/>
                  </a:cxn>
                  <a:cxn ang="10800000">
                    <a:pos x="wd2" y="hd2"/>
                  </a:cxn>
                  <a:cxn ang="16200000">
                    <a:pos x="wd2" y="hd2"/>
                  </a:cxn>
                </a:cxnLst>
                <a:rect l="0" t="0" r="r" b="b"/>
                <a:pathLst>
                  <a:path w="18915" h="18915" extrusionOk="0">
                    <a:moveTo>
                      <a:pt x="14184" y="1268"/>
                    </a:moveTo>
                    <a:cubicBezTo>
                      <a:pt x="18708" y="3879"/>
                      <a:pt x="20257" y="9663"/>
                      <a:pt x="17646" y="14185"/>
                    </a:cubicBezTo>
                    <a:cubicBezTo>
                      <a:pt x="15035" y="18708"/>
                      <a:pt x="9252" y="20257"/>
                      <a:pt x="4729" y="17646"/>
                    </a:cubicBezTo>
                    <a:cubicBezTo>
                      <a:pt x="206" y="15035"/>
                      <a:pt x="-1343" y="9252"/>
                      <a:pt x="1268" y="4729"/>
                    </a:cubicBezTo>
                    <a:cubicBezTo>
                      <a:pt x="3879" y="207"/>
                      <a:pt x="9662" y="-1343"/>
                      <a:pt x="14184" y="1268"/>
                    </a:cubicBezTo>
                    <a:close/>
                  </a:path>
                </a:pathLst>
              </a:custGeom>
              <a:solidFill>
                <a:srgbClr val="A31620"/>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íṥḻîḋè">
                <a:extLst>
                  <a:ext uri="{FF2B5EF4-FFF2-40B4-BE49-F238E27FC236}">
                    <a16:creationId xmlns:a16="http://schemas.microsoft.com/office/drawing/2014/main" id="{1AFB2A8F-892D-4C0A-83BE-134B7992D507}"/>
                  </a:ext>
                </a:extLst>
              </p:cNvPr>
              <p:cNvSpPr/>
              <p:nvPr/>
            </p:nvSpPr>
            <p:spPr>
              <a:xfrm>
                <a:off x="2068372" y="3397681"/>
                <a:ext cx="387301" cy="387404"/>
              </a:xfrm>
              <a:custGeom>
                <a:avLst/>
                <a:gdLst/>
                <a:ahLst/>
                <a:cxnLst>
                  <a:cxn ang="0">
                    <a:pos x="wd2" y="hd2"/>
                  </a:cxn>
                  <a:cxn ang="5400000">
                    <a:pos x="wd2" y="hd2"/>
                  </a:cxn>
                  <a:cxn ang="10800000">
                    <a:pos x="wd2" y="hd2"/>
                  </a:cxn>
                  <a:cxn ang="16200000">
                    <a:pos x="wd2" y="hd2"/>
                  </a:cxn>
                </a:cxnLst>
                <a:rect l="0" t="0" r="r" b="b"/>
                <a:pathLst>
                  <a:path w="18915" h="18914" extrusionOk="0">
                    <a:moveTo>
                      <a:pt x="14186" y="17646"/>
                    </a:moveTo>
                    <a:cubicBezTo>
                      <a:pt x="9662" y="20257"/>
                      <a:pt x="3880" y="18707"/>
                      <a:pt x="1269" y="14185"/>
                    </a:cubicBezTo>
                    <a:cubicBezTo>
                      <a:pt x="-1343" y="9662"/>
                      <a:pt x="207" y="3879"/>
                      <a:pt x="4730" y="1268"/>
                    </a:cubicBezTo>
                    <a:cubicBezTo>
                      <a:pt x="9252" y="-1343"/>
                      <a:pt x="15035" y="207"/>
                      <a:pt x="17647" y="4729"/>
                    </a:cubicBezTo>
                    <a:cubicBezTo>
                      <a:pt x="20257" y="9252"/>
                      <a:pt x="18708" y="15035"/>
                      <a:pt x="14186" y="17646"/>
                    </a:cubicBezTo>
                    <a:close/>
                  </a:path>
                </a:pathLst>
              </a:custGeom>
              <a:solidFill>
                <a:srgbClr val="A31620"/>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latin typeface="微软雅黑" panose="020B0503020204020204" pitchFamily="34" charset="-122"/>
                  <a:ea typeface="微软雅黑" panose="020B0503020204020204" pitchFamily="34" charset="-122"/>
                  <a:sym typeface="微软雅黑" panose="020B0503020204020204" pitchFamily="34" charset="-122"/>
                </a:endParaRPr>
              </a:p>
            </p:txBody>
          </p:sp>
        </p:grpSp>
        <p:pic>
          <p:nvPicPr>
            <p:cNvPr id="10" name="Graphic 106">
              <a:extLst>
                <a:ext uri="{FF2B5EF4-FFF2-40B4-BE49-F238E27FC236}">
                  <a16:creationId xmlns:a16="http://schemas.microsoft.com/office/drawing/2014/main" id="{49D78A02-A5E5-48CA-B334-32ABD1F051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18596" y="3396747"/>
              <a:ext cx="640080" cy="640080"/>
            </a:xfrm>
            <a:prstGeom prst="rect">
              <a:avLst/>
            </a:prstGeom>
          </p:spPr>
        </p:pic>
        <p:pic>
          <p:nvPicPr>
            <p:cNvPr id="15" name="Graphic 33">
              <a:extLst>
                <a:ext uri="{FF2B5EF4-FFF2-40B4-BE49-F238E27FC236}">
                  <a16:creationId xmlns:a16="http://schemas.microsoft.com/office/drawing/2014/main" id="{ABD99A3F-830D-4372-AC37-6ED9D637E9B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17324" y="3429000"/>
              <a:ext cx="640080" cy="640080"/>
            </a:xfrm>
            <a:prstGeom prst="rect">
              <a:avLst/>
            </a:prstGeom>
          </p:spPr>
        </p:pic>
      </p:grpSp>
      <p:sp>
        <p:nvSpPr>
          <p:cNvPr id="32" name="Rectangle 31">
            <a:extLst>
              <a:ext uri="{FF2B5EF4-FFF2-40B4-BE49-F238E27FC236}">
                <a16:creationId xmlns:a16="http://schemas.microsoft.com/office/drawing/2014/main" id="{0DBBCCD3-6910-4D01-B85A-74C2F8A775A8}"/>
              </a:ext>
            </a:extLst>
          </p:cNvPr>
          <p:cNvSpPr/>
          <p:nvPr/>
        </p:nvSpPr>
        <p:spPr>
          <a:xfrm>
            <a:off x="2368720" y="1525527"/>
            <a:ext cx="2044149" cy="369332"/>
          </a:xfrm>
          <a:prstGeom prst="rect">
            <a:avLst/>
          </a:prstGeom>
        </p:spPr>
        <p:txBody>
          <a:bodyPr wrap="none">
            <a:spAutoFit/>
          </a:bodyPr>
          <a:lstStyle/>
          <a:p>
            <a:pPr algn="ctr"/>
            <a:r>
              <a:rPr lang="zh-CN" altLang="en-US"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协作单位建设考核</a:t>
            </a:r>
            <a:endParaRPr lang="en-US" altLang="zh-CN"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3" name="Rectangle 32">
            <a:extLst>
              <a:ext uri="{FF2B5EF4-FFF2-40B4-BE49-F238E27FC236}">
                <a16:creationId xmlns:a16="http://schemas.microsoft.com/office/drawing/2014/main" id="{882B0394-8180-4222-A407-6FF2685EA93E}"/>
              </a:ext>
            </a:extLst>
          </p:cNvPr>
          <p:cNvSpPr/>
          <p:nvPr/>
        </p:nvSpPr>
        <p:spPr>
          <a:xfrm>
            <a:off x="3736974" y="4817860"/>
            <a:ext cx="1579278" cy="369332"/>
          </a:xfrm>
          <a:prstGeom prst="rect">
            <a:avLst/>
          </a:prstGeom>
        </p:spPr>
        <p:txBody>
          <a:bodyPr wrap="none">
            <a:spAutoFit/>
          </a:bodyPr>
          <a:lstStyle/>
          <a:p>
            <a:r>
              <a:rPr lang="zh-CN" altLang="en-US"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诊疗能力考核</a:t>
            </a:r>
            <a:endParaRPr lang="zh-CN" altLang="en-US"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4" name="Rectangle 33">
            <a:extLst>
              <a:ext uri="{FF2B5EF4-FFF2-40B4-BE49-F238E27FC236}">
                <a16:creationId xmlns:a16="http://schemas.microsoft.com/office/drawing/2014/main" id="{5CAB795F-C26F-4D79-9A4D-726BBB43BA2C}"/>
              </a:ext>
            </a:extLst>
          </p:cNvPr>
          <p:cNvSpPr/>
          <p:nvPr/>
        </p:nvSpPr>
        <p:spPr>
          <a:xfrm>
            <a:off x="625347" y="4679361"/>
            <a:ext cx="1579278" cy="646331"/>
          </a:xfrm>
          <a:prstGeom prst="rect">
            <a:avLst/>
          </a:prstGeom>
        </p:spPr>
        <p:txBody>
          <a:bodyPr wrap="none">
            <a:spAutoFit/>
          </a:bodyPr>
          <a:lstStyle/>
          <a:p>
            <a:pPr algn="ctr"/>
            <a:r>
              <a:rPr lang="zh-CN" altLang="en-US"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培训与数据库</a:t>
            </a:r>
            <a:endParaRPr lang="en-US" altLang="zh-CN"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algn="ctr"/>
            <a:r>
              <a:rPr lang="zh-CN" altLang="en-US"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管理考核</a:t>
            </a:r>
            <a:endParaRPr lang="zh-CN" altLang="en-US"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4" name="Arrow: Pentagon 43">
            <a:extLst>
              <a:ext uri="{FF2B5EF4-FFF2-40B4-BE49-F238E27FC236}">
                <a16:creationId xmlns:a16="http://schemas.microsoft.com/office/drawing/2014/main" id="{F99B3496-4FE1-45C3-B869-E59366B4EDA1}"/>
              </a:ext>
            </a:extLst>
          </p:cNvPr>
          <p:cNvSpPr/>
          <p:nvPr/>
        </p:nvSpPr>
        <p:spPr>
          <a:xfrm>
            <a:off x="711784" y="1381073"/>
            <a:ext cx="5331806" cy="4429893"/>
          </a:xfrm>
          <a:prstGeom prst="homePlate">
            <a:avLst>
              <a:gd name="adj" fmla="val 11340"/>
            </a:avLst>
          </a:prstGeom>
          <a:noFill/>
          <a:ln w="28575">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4197098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535EAC76-2260-47DC-84E1-23DCAEC76E95}"/>
              </a:ext>
            </a:extLst>
          </p:cNvPr>
          <p:cNvGraphicFramePr>
            <a:graphicFrameLocks noChangeAspect="1"/>
          </p:cNvGraphicFramePr>
          <p:nvPr>
            <p:custDataLst>
              <p:tags r:id="rId1"/>
            </p:custDataLst>
            <p:extLst>
              <p:ext uri="{D42A27DB-BD31-4B8C-83A1-F6EECF244321}">
                <p14:modId xmlns:p14="http://schemas.microsoft.com/office/powerpoint/2010/main" val="224127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2" name="对象 1" hidden="1">
                        <a:extLst>
                          <a:ext uri="{FF2B5EF4-FFF2-40B4-BE49-F238E27FC236}">
                            <a16:creationId xmlns:a16="http://schemas.microsoft.com/office/drawing/2014/main" id="{535EAC76-2260-47DC-84E1-23DCAEC76E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文本框 2"/>
          <p:cNvSpPr txBox="1"/>
          <p:nvPr/>
        </p:nvSpPr>
        <p:spPr>
          <a:xfrm>
            <a:off x="3907164" y="456425"/>
            <a:ext cx="1685077" cy="317779"/>
          </a:xfrm>
          <a:prstGeom prst="rect">
            <a:avLst/>
          </a:prstGeom>
          <a:noFill/>
        </p:spPr>
        <p:txBody>
          <a:bodyPr wrap="none" rtlCol="0">
            <a:spAutoFit/>
          </a:bodyPr>
          <a:lstStyle/>
          <a:p>
            <a:r>
              <a:rPr lang="zh-CN" altLang="en-US" sz="1465"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协作单位认证框架</a:t>
            </a:r>
          </a:p>
        </p:txBody>
      </p:sp>
      <p:grpSp>
        <p:nvGrpSpPr>
          <p:cNvPr id="43" name="Group 42"/>
          <p:cNvGrpSpPr/>
          <p:nvPr/>
        </p:nvGrpSpPr>
        <p:grpSpPr>
          <a:xfrm>
            <a:off x="5019845" y="919630"/>
            <a:ext cx="1913798" cy="1855012"/>
            <a:chOff x="5157671" y="1581479"/>
            <a:chExt cx="2892668" cy="2893469"/>
          </a:xfrm>
        </p:grpSpPr>
        <p:grpSp>
          <p:nvGrpSpPr>
            <p:cNvPr id="44" name="Group 43"/>
            <p:cNvGrpSpPr/>
            <p:nvPr/>
          </p:nvGrpSpPr>
          <p:grpSpPr>
            <a:xfrm>
              <a:off x="5157671" y="1581479"/>
              <a:ext cx="2892668" cy="2893469"/>
              <a:chOff x="2068372" y="2689719"/>
              <a:chExt cx="1202189" cy="1192714"/>
            </a:xfrm>
          </p:grpSpPr>
          <p:sp>
            <p:nvSpPr>
              <p:cNvPr id="48" name="isļîďe"/>
              <p:cNvSpPr/>
              <p:nvPr/>
            </p:nvSpPr>
            <p:spPr>
              <a:xfrm>
                <a:off x="2372165" y="3495520"/>
                <a:ext cx="787889" cy="386913"/>
              </a:xfrm>
              <a:custGeom>
                <a:avLst/>
                <a:gdLst/>
                <a:ahLst/>
                <a:cxnLst>
                  <a:cxn ang="0">
                    <a:pos x="wd2" y="hd2"/>
                  </a:cxn>
                  <a:cxn ang="5400000">
                    <a:pos x="wd2" y="hd2"/>
                  </a:cxn>
                  <a:cxn ang="10800000">
                    <a:pos x="wd2" y="hd2"/>
                  </a:cxn>
                  <a:cxn ang="16200000">
                    <a:pos x="wd2" y="hd2"/>
                  </a:cxn>
                </a:cxnLst>
                <a:rect l="0" t="0" r="r" b="b"/>
                <a:pathLst>
                  <a:path w="21600" h="21600" extrusionOk="0">
                    <a:moveTo>
                      <a:pt x="17950" y="0"/>
                    </a:moveTo>
                    <a:cubicBezTo>
                      <a:pt x="16358" y="8270"/>
                      <a:pt x="12511" y="13614"/>
                      <a:pt x="8151" y="13614"/>
                    </a:cubicBezTo>
                    <a:cubicBezTo>
                      <a:pt x="6842" y="13614"/>
                      <a:pt x="5553" y="13116"/>
                      <a:pt x="4321" y="12134"/>
                    </a:cubicBezTo>
                    <a:lnTo>
                      <a:pt x="4685" y="10242"/>
                    </a:lnTo>
                    <a:lnTo>
                      <a:pt x="0" y="12967"/>
                    </a:lnTo>
                    <a:lnTo>
                      <a:pt x="2527" y="21453"/>
                    </a:lnTo>
                    <a:lnTo>
                      <a:pt x="2889" y="19569"/>
                    </a:lnTo>
                    <a:cubicBezTo>
                      <a:pt x="4579" y="20916"/>
                      <a:pt x="6349" y="21600"/>
                      <a:pt x="8151" y="21600"/>
                    </a:cubicBezTo>
                    <a:cubicBezTo>
                      <a:pt x="11022" y="21600"/>
                      <a:pt x="13805" y="19874"/>
                      <a:pt x="16199" y="16609"/>
                    </a:cubicBezTo>
                    <a:cubicBezTo>
                      <a:pt x="18651" y="13265"/>
                      <a:pt x="20519" y="8530"/>
                      <a:pt x="21600" y="2916"/>
                    </a:cubicBezTo>
                    <a:cubicBezTo>
                      <a:pt x="21600" y="2916"/>
                      <a:pt x="17950" y="0"/>
                      <a:pt x="17950" y="0"/>
                    </a:cubicBezTo>
                    <a:close/>
                  </a:path>
                </a:pathLst>
              </a:custGeom>
              <a:solidFill>
                <a:schemeClr val="accent2">
                  <a:lumMod val="20000"/>
                  <a:lumOff val="80000"/>
                </a:schemeClr>
              </a:solidFill>
              <a:ln w="12700" cap="flat">
                <a:no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167030">
                  <a:defRPr sz="3000">
                    <a:solidFill>
                      <a:srgbClr val="FFFFFF"/>
                    </a:solidFill>
                    <a:effectLst>
                      <a:outerShdw blurRad="38100" dist="12700" dir="5400000" rotWithShape="0">
                        <a:srgbClr val="000000">
                          <a:alpha val="50000"/>
                        </a:srgbClr>
                      </a:outerShdw>
                    </a:effectLst>
                  </a:defRPr>
                </a:pPr>
                <a:endParaRPr sz="1026"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í$ḷidè"/>
              <p:cNvSpPr/>
              <p:nvPr/>
            </p:nvSpPr>
            <p:spPr>
              <a:xfrm>
                <a:off x="2144606" y="2910854"/>
                <a:ext cx="353117" cy="772535"/>
              </a:xfrm>
              <a:custGeom>
                <a:avLst/>
                <a:gdLst/>
                <a:ahLst/>
                <a:cxnLst>
                  <a:cxn ang="0">
                    <a:pos x="wd2" y="hd2"/>
                  </a:cxn>
                  <a:cxn ang="5400000">
                    <a:pos x="wd2" y="hd2"/>
                  </a:cxn>
                  <a:cxn ang="10800000">
                    <a:pos x="wd2" y="hd2"/>
                  </a:cxn>
                  <a:cxn ang="16200000">
                    <a:pos x="wd2" y="hd2"/>
                  </a:cxn>
                </a:cxnLst>
                <a:rect l="0" t="0" r="r" b="b"/>
                <a:pathLst>
                  <a:path w="21251" h="21600" extrusionOk="0">
                    <a:moveTo>
                      <a:pt x="13651" y="19106"/>
                    </a:moveTo>
                    <a:cubicBezTo>
                      <a:pt x="7680" y="15628"/>
                      <a:pt x="6914" y="10891"/>
                      <a:pt x="11700" y="7039"/>
                    </a:cubicBezTo>
                    <a:cubicBezTo>
                      <a:pt x="13137" y="5882"/>
                      <a:pt x="15017" y="4869"/>
                      <a:pt x="17285" y="4026"/>
                    </a:cubicBezTo>
                    <a:lnTo>
                      <a:pt x="18651" y="4821"/>
                    </a:lnTo>
                    <a:lnTo>
                      <a:pt x="21251" y="0"/>
                    </a:lnTo>
                    <a:lnTo>
                      <a:pt x="10557" y="107"/>
                    </a:lnTo>
                    <a:lnTo>
                      <a:pt x="11917" y="899"/>
                    </a:lnTo>
                    <a:cubicBezTo>
                      <a:pt x="8805" y="2055"/>
                      <a:pt x="6224" y="3448"/>
                      <a:pt x="4247" y="5039"/>
                    </a:cubicBezTo>
                    <a:cubicBezTo>
                      <a:pt x="1095" y="7576"/>
                      <a:pt x="-349" y="10466"/>
                      <a:pt x="71" y="13399"/>
                    </a:cubicBezTo>
                    <a:cubicBezTo>
                      <a:pt x="500" y="16403"/>
                      <a:pt x="2870" y="19239"/>
                      <a:pt x="6923" y="21600"/>
                    </a:cubicBezTo>
                    <a:cubicBezTo>
                      <a:pt x="6923" y="21600"/>
                      <a:pt x="13651" y="19106"/>
                      <a:pt x="13651" y="19106"/>
                    </a:cubicBezTo>
                    <a:close/>
                  </a:path>
                </a:pathLst>
              </a:custGeom>
              <a:solidFill>
                <a:schemeClr val="accent2">
                  <a:lumMod val="20000"/>
                  <a:lumOff val="80000"/>
                </a:schemeClr>
              </a:solidFill>
              <a:ln w="12700" cap="flat">
                <a:no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167030">
                  <a:defRPr sz="3000">
                    <a:solidFill>
                      <a:srgbClr val="FFFFFF"/>
                    </a:solidFill>
                    <a:effectLst>
                      <a:outerShdw blurRad="38100" dist="12700" dir="5400000" rotWithShape="0">
                        <a:srgbClr val="000000">
                          <a:alpha val="50000"/>
                        </a:srgbClr>
                      </a:outerShdw>
                    </a:effectLst>
                  </a:defRPr>
                </a:pPr>
                <a:endParaRPr sz="1026">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0" name="íṩ1îďé"/>
              <p:cNvSpPr/>
              <p:nvPr/>
            </p:nvSpPr>
            <p:spPr>
              <a:xfrm>
                <a:off x="2590800" y="2830518"/>
                <a:ext cx="635356" cy="598482"/>
              </a:xfrm>
              <a:custGeom>
                <a:avLst/>
                <a:gdLst/>
                <a:ahLst/>
                <a:cxnLst>
                  <a:cxn ang="0">
                    <a:pos x="wd2" y="hd2"/>
                  </a:cxn>
                  <a:cxn ang="5400000">
                    <a:pos x="wd2" y="hd2"/>
                  </a:cxn>
                  <a:cxn ang="10800000">
                    <a:pos x="wd2" y="hd2"/>
                  </a:cxn>
                  <a:cxn ang="16200000">
                    <a:pos x="wd2" y="hd2"/>
                  </a:cxn>
                </a:cxnLst>
                <a:rect l="0" t="0" r="r" b="b"/>
                <a:pathLst>
                  <a:path w="21600" h="21240" extrusionOk="0">
                    <a:moveTo>
                      <a:pt x="726" y="5232"/>
                    </a:moveTo>
                    <a:cubicBezTo>
                      <a:pt x="6074" y="4389"/>
                      <a:pt x="11276" y="7004"/>
                      <a:pt x="13980" y="11894"/>
                    </a:cubicBezTo>
                    <a:cubicBezTo>
                      <a:pt x="14791" y="13362"/>
                      <a:pt x="15328" y="14965"/>
                      <a:pt x="15574" y="16659"/>
                    </a:cubicBezTo>
                    <a:lnTo>
                      <a:pt x="14351" y="16852"/>
                    </a:lnTo>
                    <a:lnTo>
                      <a:pt x="18692" y="21240"/>
                    </a:lnTo>
                    <a:lnTo>
                      <a:pt x="21600" y="15709"/>
                    </a:lnTo>
                    <a:lnTo>
                      <a:pt x="20382" y="15901"/>
                    </a:lnTo>
                    <a:cubicBezTo>
                      <a:pt x="20044" y="13578"/>
                      <a:pt x="19307" y="11376"/>
                      <a:pt x="18190" y="9356"/>
                    </a:cubicBezTo>
                    <a:cubicBezTo>
                      <a:pt x="16410" y="6136"/>
                      <a:pt x="13775" y="3564"/>
                      <a:pt x="10569" y="1917"/>
                    </a:cubicBezTo>
                    <a:cubicBezTo>
                      <a:pt x="7285" y="229"/>
                      <a:pt x="3630" y="-360"/>
                      <a:pt x="0" y="212"/>
                    </a:cubicBezTo>
                    <a:cubicBezTo>
                      <a:pt x="0" y="212"/>
                      <a:pt x="726" y="5232"/>
                      <a:pt x="726" y="5232"/>
                    </a:cubicBezTo>
                    <a:close/>
                  </a:path>
                </a:pathLst>
              </a:custGeom>
              <a:solidFill>
                <a:schemeClr val="accent2">
                  <a:lumMod val="20000"/>
                  <a:lumOff val="80000"/>
                </a:schemeClr>
              </a:solidFill>
              <a:ln w="12700" cap="flat">
                <a:no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167030">
                  <a:defRPr sz="3000">
                    <a:solidFill>
                      <a:srgbClr val="FFFFFF"/>
                    </a:solidFill>
                    <a:effectLst>
                      <a:outerShdw blurRad="38100" dist="12700" dir="5400000" rotWithShape="0">
                        <a:srgbClr val="000000">
                          <a:alpha val="50000"/>
                        </a:srgbClr>
                      </a:outerShdw>
                    </a:effectLst>
                  </a:defRPr>
                </a:pPr>
                <a:endParaRPr sz="1026" dirty="0">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51" name="ïṣḻîḍè"/>
              <p:cNvGrpSpPr/>
              <p:nvPr/>
            </p:nvGrpSpPr>
            <p:grpSpPr>
              <a:xfrm>
                <a:off x="2475844" y="2689719"/>
                <a:ext cx="387244" cy="387332"/>
                <a:chOff x="5681840" y="2979256"/>
                <a:chExt cx="828320" cy="828508"/>
              </a:xfrm>
            </p:grpSpPr>
            <p:sp>
              <p:nvSpPr>
                <p:cNvPr id="54" name="íṣ1ïďé"/>
                <p:cNvSpPr/>
                <p:nvPr/>
              </p:nvSpPr>
              <p:spPr>
                <a:xfrm>
                  <a:off x="5681840" y="2979256"/>
                  <a:ext cx="828320" cy="82850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4835"/>
                        <a:pt x="4836" y="0"/>
                        <a:pt x="10800" y="0"/>
                      </a:cubicBezTo>
                      <a:cubicBezTo>
                        <a:pt x="16765" y="0"/>
                        <a:pt x="21600" y="4835"/>
                        <a:pt x="21600" y="10800"/>
                      </a:cubicBezTo>
                      <a:cubicBezTo>
                        <a:pt x="21600" y="16764"/>
                        <a:pt x="16765" y="21600"/>
                        <a:pt x="10800" y="21600"/>
                      </a:cubicBezTo>
                      <a:cubicBezTo>
                        <a:pt x="4836" y="21600"/>
                        <a:pt x="0" y="16764"/>
                        <a:pt x="0" y="10800"/>
                      </a:cubicBezTo>
                      <a:close/>
                    </a:path>
                  </a:pathLst>
                </a:custGeom>
                <a:solidFill>
                  <a:srgbClr val="A31620"/>
                </a:solidFill>
                <a:ln w="38100" cap="flat">
                  <a:solidFill>
                    <a:schemeClr val="bg1"/>
                  </a:solid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sz="1026"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5" name="íśḷîḓê"/>
                <p:cNvSpPr/>
                <p:nvPr/>
              </p:nvSpPr>
              <p:spPr>
                <a:xfrm>
                  <a:off x="5903703" y="3139657"/>
                  <a:ext cx="384594" cy="507704"/>
                </a:xfrm>
                <a:custGeom>
                  <a:avLst/>
                  <a:gdLst>
                    <a:gd name="connsiteX0" fmla="*/ 55845 w 426738"/>
                    <a:gd name="connsiteY0" fmla="*/ 536580 h 563337"/>
                    <a:gd name="connsiteX1" fmla="*/ 371677 w 426738"/>
                    <a:gd name="connsiteY1" fmla="*/ 536580 h 563337"/>
                    <a:gd name="connsiteX2" fmla="*/ 371677 w 426738"/>
                    <a:gd name="connsiteY2" fmla="*/ 563337 h 563337"/>
                    <a:gd name="connsiteX3" fmla="*/ 55845 w 426738"/>
                    <a:gd name="connsiteY3" fmla="*/ 563337 h 563337"/>
                    <a:gd name="connsiteX4" fmla="*/ 113334 w 426738"/>
                    <a:gd name="connsiteY4" fmla="*/ 402793 h 563337"/>
                    <a:gd name="connsiteX5" fmla="*/ 321984 w 426738"/>
                    <a:gd name="connsiteY5" fmla="*/ 402793 h 563337"/>
                    <a:gd name="connsiteX6" fmla="*/ 321984 w 426738"/>
                    <a:gd name="connsiteY6" fmla="*/ 523679 h 563337"/>
                    <a:gd name="connsiteX7" fmla="*/ 318010 w 426738"/>
                    <a:gd name="connsiteY7" fmla="*/ 523679 h 563337"/>
                    <a:gd name="connsiteX8" fmla="*/ 113334 w 426738"/>
                    <a:gd name="connsiteY8" fmla="*/ 523679 h 563337"/>
                    <a:gd name="connsiteX9" fmla="*/ 290306 w 426738"/>
                    <a:gd name="connsiteY9" fmla="*/ 252920 h 563337"/>
                    <a:gd name="connsiteX10" fmla="*/ 339972 w 426738"/>
                    <a:gd name="connsiteY10" fmla="*/ 261846 h 563337"/>
                    <a:gd name="connsiteX11" fmla="*/ 366791 w 426738"/>
                    <a:gd name="connsiteY11" fmla="*/ 287633 h 563337"/>
                    <a:gd name="connsiteX12" fmla="*/ 425397 w 426738"/>
                    <a:gd name="connsiteY12" fmla="*/ 480040 h 563337"/>
                    <a:gd name="connsiteX13" fmla="*/ 419437 w 426738"/>
                    <a:gd name="connsiteY13" fmla="*/ 510786 h 563337"/>
                    <a:gd name="connsiteX14" fmla="*/ 391624 w 426738"/>
                    <a:gd name="connsiteY14" fmla="*/ 523679 h 563337"/>
                    <a:gd name="connsiteX15" fmla="*/ 350898 w 426738"/>
                    <a:gd name="connsiteY15" fmla="*/ 523679 h 563337"/>
                    <a:gd name="connsiteX16" fmla="*/ 350898 w 426738"/>
                    <a:gd name="connsiteY16" fmla="*/ 387804 h 563337"/>
                    <a:gd name="connsiteX17" fmla="*/ 335999 w 426738"/>
                    <a:gd name="connsiteY17" fmla="*/ 373919 h 563337"/>
                    <a:gd name="connsiteX18" fmla="*/ 222760 w 426738"/>
                    <a:gd name="connsiteY18" fmla="*/ 373919 h 563337"/>
                    <a:gd name="connsiteX19" fmla="*/ 137229 w 426738"/>
                    <a:gd name="connsiteY19" fmla="*/ 251965 h 563337"/>
                    <a:gd name="connsiteX20" fmla="*/ 204762 w 426738"/>
                    <a:gd name="connsiteY20" fmla="*/ 373939 h 563337"/>
                    <a:gd name="connsiteX21" fmla="*/ 98496 w 426738"/>
                    <a:gd name="connsiteY21" fmla="*/ 373939 h 563337"/>
                    <a:gd name="connsiteX22" fmla="*/ 84592 w 426738"/>
                    <a:gd name="connsiteY22" fmla="*/ 387822 h 563337"/>
                    <a:gd name="connsiteX23" fmla="*/ 84592 w 426738"/>
                    <a:gd name="connsiteY23" fmla="*/ 523679 h 563337"/>
                    <a:gd name="connsiteX24" fmla="*/ 34935 w 426738"/>
                    <a:gd name="connsiteY24" fmla="*/ 523679 h 563337"/>
                    <a:gd name="connsiteX25" fmla="*/ 7127 w 426738"/>
                    <a:gd name="connsiteY25" fmla="*/ 510787 h 563337"/>
                    <a:gd name="connsiteX26" fmla="*/ 1168 w 426738"/>
                    <a:gd name="connsiteY26" fmla="*/ 480046 h 563337"/>
                    <a:gd name="connsiteX27" fmla="*/ 60757 w 426738"/>
                    <a:gd name="connsiteY27" fmla="*/ 287665 h 563337"/>
                    <a:gd name="connsiteX28" fmla="*/ 87571 w 426738"/>
                    <a:gd name="connsiteY28" fmla="*/ 262873 h 563337"/>
                    <a:gd name="connsiteX29" fmla="*/ 151134 w 426738"/>
                    <a:gd name="connsiteY29" fmla="*/ 119058 h 563337"/>
                    <a:gd name="connsiteX30" fmla="*/ 140207 w 426738"/>
                    <a:gd name="connsiteY30" fmla="*/ 143862 h 563337"/>
                    <a:gd name="connsiteX31" fmla="*/ 136233 w 426738"/>
                    <a:gd name="connsiteY31" fmla="*/ 145847 h 563337"/>
                    <a:gd name="connsiteX32" fmla="*/ 119345 w 426738"/>
                    <a:gd name="connsiteY32" fmla="*/ 142870 h 563337"/>
                    <a:gd name="connsiteX33" fmla="*/ 115371 w 426738"/>
                    <a:gd name="connsiteY33" fmla="*/ 146839 h 563337"/>
                    <a:gd name="connsiteX34" fmla="*/ 114378 w 426738"/>
                    <a:gd name="connsiteY34" fmla="*/ 160729 h 563337"/>
                    <a:gd name="connsiteX35" fmla="*/ 116365 w 426738"/>
                    <a:gd name="connsiteY35" fmla="*/ 166682 h 563337"/>
                    <a:gd name="connsiteX36" fmla="*/ 122325 w 426738"/>
                    <a:gd name="connsiteY36" fmla="*/ 177596 h 563337"/>
                    <a:gd name="connsiteX37" fmla="*/ 125306 w 426738"/>
                    <a:gd name="connsiteY37" fmla="*/ 181564 h 563337"/>
                    <a:gd name="connsiteX38" fmla="*/ 213719 w 426738"/>
                    <a:gd name="connsiteY38" fmla="*/ 261929 h 563337"/>
                    <a:gd name="connsiteX39" fmla="*/ 300146 w 426738"/>
                    <a:gd name="connsiteY39" fmla="*/ 181564 h 563337"/>
                    <a:gd name="connsiteX40" fmla="*/ 303126 w 426738"/>
                    <a:gd name="connsiteY40" fmla="*/ 176603 h 563337"/>
                    <a:gd name="connsiteX41" fmla="*/ 309087 w 426738"/>
                    <a:gd name="connsiteY41" fmla="*/ 165690 h 563337"/>
                    <a:gd name="connsiteX42" fmla="*/ 311073 w 426738"/>
                    <a:gd name="connsiteY42" fmla="*/ 160729 h 563337"/>
                    <a:gd name="connsiteX43" fmla="*/ 310080 w 426738"/>
                    <a:gd name="connsiteY43" fmla="*/ 145847 h 563337"/>
                    <a:gd name="connsiteX44" fmla="*/ 306106 w 426738"/>
                    <a:gd name="connsiteY44" fmla="*/ 141878 h 563337"/>
                    <a:gd name="connsiteX45" fmla="*/ 286238 w 426738"/>
                    <a:gd name="connsiteY45" fmla="*/ 147831 h 563337"/>
                    <a:gd name="connsiteX46" fmla="*/ 285245 w 426738"/>
                    <a:gd name="connsiteY46" fmla="*/ 147831 h 563337"/>
                    <a:gd name="connsiteX47" fmla="*/ 281271 w 426738"/>
                    <a:gd name="connsiteY47" fmla="*/ 145847 h 563337"/>
                    <a:gd name="connsiteX48" fmla="*/ 274317 w 426738"/>
                    <a:gd name="connsiteY48" fmla="*/ 128980 h 563337"/>
                    <a:gd name="connsiteX49" fmla="*/ 246502 w 426738"/>
                    <a:gd name="connsiteY49" fmla="*/ 131957 h 563337"/>
                    <a:gd name="connsiteX50" fmla="*/ 151134 w 426738"/>
                    <a:gd name="connsiteY50" fmla="*/ 119058 h 563337"/>
                    <a:gd name="connsiteX51" fmla="*/ 212726 w 426738"/>
                    <a:gd name="connsiteY51" fmla="*/ 0 h 563337"/>
                    <a:gd name="connsiteX52" fmla="*/ 320014 w 426738"/>
                    <a:gd name="connsiteY52" fmla="*/ 133941 h 563337"/>
                    <a:gd name="connsiteX53" fmla="*/ 320014 w 426738"/>
                    <a:gd name="connsiteY53" fmla="*/ 134933 h 563337"/>
                    <a:gd name="connsiteX54" fmla="*/ 323988 w 426738"/>
                    <a:gd name="connsiteY54" fmla="*/ 166682 h 563337"/>
                    <a:gd name="connsiteX55" fmla="*/ 322001 w 426738"/>
                    <a:gd name="connsiteY55" fmla="*/ 171643 h 563337"/>
                    <a:gd name="connsiteX56" fmla="*/ 313060 w 426738"/>
                    <a:gd name="connsiteY56" fmla="*/ 187517 h 563337"/>
                    <a:gd name="connsiteX57" fmla="*/ 213719 w 426738"/>
                    <a:gd name="connsiteY57" fmla="*/ 276811 h 563337"/>
                    <a:gd name="connsiteX58" fmla="*/ 112391 w 426738"/>
                    <a:gd name="connsiteY58" fmla="*/ 188509 h 563337"/>
                    <a:gd name="connsiteX59" fmla="*/ 103451 w 426738"/>
                    <a:gd name="connsiteY59" fmla="*/ 171643 h 563337"/>
                    <a:gd name="connsiteX60" fmla="*/ 101464 w 426738"/>
                    <a:gd name="connsiteY60" fmla="*/ 167674 h 563337"/>
                    <a:gd name="connsiteX61" fmla="*/ 105437 w 426738"/>
                    <a:gd name="connsiteY61" fmla="*/ 135925 h 563337"/>
                    <a:gd name="connsiteX62" fmla="*/ 105437 w 426738"/>
                    <a:gd name="connsiteY62" fmla="*/ 133941 h 563337"/>
                    <a:gd name="connsiteX63" fmla="*/ 212726 w 426738"/>
                    <a:gd name="connsiteY63" fmla="*/ 0 h 56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26738" h="563337">
                      <a:moveTo>
                        <a:pt x="55845" y="536580"/>
                      </a:moveTo>
                      <a:lnTo>
                        <a:pt x="371677" y="536580"/>
                      </a:lnTo>
                      <a:lnTo>
                        <a:pt x="371677" y="563337"/>
                      </a:lnTo>
                      <a:lnTo>
                        <a:pt x="55845" y="563337"/>
                      </a:lnTo>
                      <a:close/>
                      <a:moveTo>
                        <a:pt x="113334" y="402793"/>
                      </a:moveTo>
                      <a:lnTo>
                        <a:pt x="321984" y="402793"/>
                      </a:lnTo>
                      <a:lnTo>
                        <a:pt x="321984" y="523679"/>
                      </a:lnTo>
                      <a:lnTo>
                        <a:pt x="318010" y="523679"/>
                      </a:lnTo>
                      <a:lnTo>
                        <a:pt x="113334" y="523679"/>
                      </a:lnTo>
                      <a:close/>
                      <a:moveTo>
                        <a:pt x="290306" y="252920"/>
                      </a:moveTo>
                      <a:lnTo>
                        <a:pt x="339972" y="261846"/>
                      </a:lnTo>
                      <a:cubicBezTo>
                        <a:pt x="352885" y="264821"/>
                        <a:pt x="363812" y="274739"/>
                        <a:pt x="366791" y="287633"/>
                      </a:cubicBezTo>
                      <a:lnTo>
                        <a:pt x="425397" y="480040"/>
                      </a:lnTo>
                      <a:cubicBezTo>
                        <a:pt x="428377" y="490950"/>
                        <a:pt x="426391" y="501860"/>
                        <a:pt x="419437" y="510786"/>
                      </a:cubicBezTo>
                      <a:cubicBezTo>
                        <a:pt x="413477" y="518720"/>
                        <a:pt x="402551" y="523679"/>
                        <a:pt x="391624" y="523679"/>
                      </a:cubicBezTo>
                      <a:lnTo>
                        <a:pt x="350898" y="523679"/>
                      </a:lnTo>
                      <a:lnTo>
                        <a:pt x="350898" y="387804"/>
                      </a:lnTo>
                      <a:lnTo>
                        <a:pt x="335999" y="373919"/>
                      </a:lnTo>
                      <a:lnTo>
                        <a:pt x="222760" y="373919"/>
                      </a:lnTo>
                      <a:close/>
                      <a:moveTo>
                        <a:pt x="137229" y="251965"/>
                      </a:moveTo>
                      <a:lnTo>
                        <a:pt x="204762" y="373939"/>
                      </a:lnTo>
                      <a:lnTo>
                        <a:pt x="98496" y="373939"/>
                      </a:lnTo>
                      <a:lnTo>
                        <a:pt x="84592" y="387822"/>
                      </a:lnTo>
                      <a:lnTo>
                        <a:pt x="84592" y="523679"/>
                      </a:lnTo>
                      <a:lnTo>
                        <a:pt x="34935" y="523679"/>
                      </a:lnTo>
                      <a:cubicBezTo>
                        <a:pt x="24010" y="523679"/>
                        <a:pt x="14079" y="518721"/>
                        <a:pt x="7127" y="510787"/>
                      </a:cubicBezTo>
                      <a:cubicBezTo>
                        <a:pt x="1168" y="501863"/>
                        <a:pt x="-1811" y="490954"/>
                        <a:pt x="1168" y="480046"/>
                      </a:cubicBezTo>
                      <a:lnTo>
                        <a:pt x="60757" y="287665"/>
                      </a:lnTo>
                      <a:cubicBezTo>
                        <a:pt x="63736" y="274773"/>
                        <a:pt x="74660" y="264857"/>
                        <a:pt x="87571" y="262873"/>
                      </a:cubicBezTo>
                      <a:close/>
                      <a:moveTo>
                        <a:pt x="151134" y="119058"/>
                      </a:moveTo>
                      <a:lnTo>
                        <a:pt x="140207" y="143862"/>
                      </a:lnTo>
                      <a:cubicBezTo>
                        <a:pt x="139213" y="144855"/>
                        <a:pt x="138220" y="145847"/>
                        <a:pt x="136233" y="145847"/>
                      </a:cubicBezTo>
                      <a:lnTo>
                        <a:pt x="119345" y="142870"/>
                      </a:lnTo>
                      <a:cubicBezTo>
                        <a:pt x="118352" y="144855"/>
                        <a:pt x="117358" y="145847"/>
                        <a:pt x="115371" y="146839"/>
                      </a:cubicBezTo>
                      <a:cubicBezTo>
                        <a:pt x="112391" y="147831"/>
                        <a:pt x="111398" y="154776"/>
                        <a:pt x="114378" y="160729"/>
                      </a:cubicBezTo>
                      <a:cubicBezTo>
                        <a:pt x="115371" y="162713"/>
                        <a:pt x="115371" y="164698"/>
                        <a:pt x="116365" y="166682"/>
                      </a:cubicBezTo>
                      <a:cubicBezTo>
                        <a:pt x="118352" y="169658"/>
                        <a:pt x="120339" y="175611"/>
                        <a:pt x="122325" y="177596"/>
                      </a:cubicBezTo>
                      <a:cubicBezTo>
                        <a:pt x="123319" y="178588"/>
                        <a:pt x="125306" y="179580"/>
                        <a:pt x="125306" y="181564"/>
                      </a:cubicBezTo>
                      <a:cubicBezTo>
                        <a:pt x="139213" y="229188"/>
                        <a:pt x="174976" y="261929"/>
                        <a:pt x="213719" y="261929"/>
                      </a:cubicBezTo>
                      <a:cubicBezTo>
                        <a:pt x="251469" y="261929"/>
                        <a:pt x="287232" y="228195"/>
                        <a:pt x="300146" y="181564"/>
                      </a:cubicBezTo>
                      <a:cubicBezTo>
                        <a:pt x="300146" y="179580"/>
                        <a:pt x="302133" y="177596"/>
                        <a:pt x="303126" y="176603"/>
                      </a:cubicBezTo>
                      <a:cubicBezTo>
                        <a:pt x="305113" y="174619"/>
                        <a:pt x="307100" y="168666"/>
                        <a:pt x="309087" y="165690"/>
                      </a:cubicBezTo>
                      <a:cubicBezTo>
                        <a:pt x="309087" y="163705"/>
                        <a:pt x="310080" y="161721"/>
                        <a:pt x="311073" y="160729"/>
                      </a:cubicBezTo>
                      <a:cubicBezTo>
                        <a:pt x="314054" y="153784"/>
                        <a:pt x="313060" y="147831"/>
                        <a:pt x="310080" y="145847"/>
                      </a:cubicBezTo>
                      <a:cubicBezTo>
                        <a:pt x="308093" y="144855"/>
                        <a:pt x="306106" y="143862"/>
                        <a:pt x="306106" y="141878"/>
                      </a:cubicBezTo>
                      <a:lnTo>
                        <a:pt x="286238" y="147831"/>
                      </a:lnTo>
                      <a:cubicBezTo>
                        <a:pt x="285245" y="147831"/>
                        <a:pt x="285245" y="147831"/>
                        <a:pt x="285245" y="147831"/>
                      </a:cubicBezTo>
                      <a:cubicBezTo>
                        <a:pt x="283258" y="147831"/>
                        <a:pt x="282265" y="146839"/>
                        <a:pt x="281271" y="145847"/>
                      </a:cubicBezTo>
                      <a:lnTo>
                        <a:pt x="274317" y="128980"/>
                      </a:lnTo>
                      <a:cubicBezTo>
                        <a:pt x="267363" y="130964"/>
                        <a:pt x="257429" y="131957"/>
                        <a:pt x="246502" y="131957"/>
                      </a:cubicBezTo>
                      <a:cubicBezTo>
                        <a:pt x="209746" y="131957"/>
                        <a:pt x="163055" y="122035"/>
                        <a:pt x="151134" y="119058"/>
                      </a:cubicBezTo>
                      <a:close/>
                      <a:moveTo>
                        <a:pt x="212726" y="0"/>
                      </a:moveTo>
                      <a:cubicBezTo>
                        <a:pt x="311073" y="0"/>
                        <a:pt x="320014" y="68459"/>
                        <a:pt x="320014" y="133941"/>
                      </a:cubicBezTo>
                      <a:lnTo>
                        <a:pt x="320014" y="134933"/>
                      </a:lnTo>
                      <a:cubicBezTo>
                        <a:pt x="327961" y="140886"/>
                        <a:pt x="329948" y="154776"/>
                        <a:pt x="323988" y="166682"/>
                      </a:cubicBezTo>
                      <a:cubicBezTo>
                        <a:pt x="323988" y="167674"/>
                        <a:pt x="322994" y="169658"/>
                        <a:pt x="322001" y="171643"/>
                      </a:cubicBezTo>
                      <a:cubicBezTo>
                        <a:pt x="319021" y="178588"/>
                        <a:pt x="317034" y="184541"/>
                        <a:pt x="313060" y="187517"/>
                      </a:cubicBezTo>
                      <a:cubicBezTo>
                        <a:pt x="298159" y="240101"/>
                        <a:pt x="257429" y="275819"/>
                        <a:pt x="213719" y="276811"/>
                      </a:cubicBezTo>
                      <a:cubicBezTo>
                        <a:pt x="170009" y="276811"/>
                        <a:pt x="128286" y="240101"/>
                        <a:pt x="112391" y="188509"/>
                      </a:cubicBezTo>
                      <a:cubicBezTo>
                        <a:pt x="108418" y="184541"/>
                        <a:pt x="106431" y="179580"/>
                        <a:pt x="103451" y="171643"/>
                      </a:cubicBezTo>
                      <a:cubicBezTo>
                        <a:pt x="102457" y="170651"/>
                        <a:pt x="101464" y="168666"/>
                        <a:pt x="101464" y="167674"/>
                      </a:cubicBezTo>
                      <a:cubicBezTo>
                        <a:pt x="95503" y="154776"/>
                        <a:pt x="97490" y="141878"/>
                        <a:pt x="105437" y="135925"/>
                      </a:cubicBezTo>
                      <a:cubicBezTo>
                        <a:pt x="105437" y="134933"/>
                        <a:pt x="105437" y="134933"/>
                        <a:pt x="105437" y="133941"/>
                      </a:cubicBezTo>
                      <a:cubicBezTo>
                        <a:pt x="105437" y="66474"/>
                        <a:pt x="113385" y="0"/>
                        <a:pt x="212726" y="0"/>
                      </a:cubicBezTo>
                      <a:close/>
                    </a:path>
                  </a:pathLst>
                </a:custGeom>
                <a:solidFill>
                  <a:schemeClr val="bg1"/>
                </a:solidFill>
                <a:ln w="38100" cap="flat">
                  <a:noFill/>
                  <a:miter lim="400000"/>
                </a:ln>
                <a:effectLst/>
              </p:spPr>
              <p:txBody>
                <a:bodyPr wrap="square" lIns="66998" tIns="33499" rIns="66998" bIns="33499"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sz="1026">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52" name="îsļide"/>
              <p:cNvSpPr/>
              <p:nvPr/>
            </p:nvSpPr>
            <p:spPr>
              <a:xfrm>
                <a:off x="2883261" y="3397682"/>
                <a:ext cx="387300" cy="387403"/>
              </a:xfrm>
              <a:custGeom>
                <a:avLst/>
                <a:gdLst/>
                <a:ahLst/>
                <a:cxnLst>
                  <a:cxn ang="0">
                    <a:pos x="wd2" y="hd2"/>
                  </a:cxn>
                  <a:cxn ang="5400000">
                    <a:pos x="wd2" y="hd2"/>
                  </a:cxn>
                  <a:cxn ang="10800000">
                    <a:pos x="wd2" y="hd2"/>
                  </a:cxn>
                  <a:cxn ang="16200000">
                    <a:pos x="wd2" y="hd2"/>
                  </a:cxn>
                </a:cxnLst>
                <a:rect l="0" t="0" r="r" b="b"/>
                <a:pathLst>
                  <a:path w="18915" h="18915" extrusionOk="0">
                    <a:moveTo>
                      <a:pt x="14184" y="1268"/>
                    </a:moveTo>
                    <a:cubicBezTo>
                      <a:pt x="18708" y="3879"/>
                      <a:pt x="20257" y="9663"/>
                      <a:pt x="17646" y="14185"/>
                    </a:cubicBezTo>
                    <a:cubicBezTo>
                      <a:pt x="15035" y="18708"/>
                      <a:pt x="9252" y="20257"/>
                      <a:pt x="4729" y="17646"/>
                    </a:cubicBezTo>
                    <a:cubicBezTo>
                      <a:pt x="206" y="15035"/>
                      <a:pt x="-1343" y="9252"/>
                      <a:pt x="1268" y="4729"/>
                    </a:cubicBezTo>
                    <a:cubicBezTo>
                      <a:pt x="3879" y="207"/>
                      <a:pt x="9662" y="-1343"/>
                      <a:pt x="14184" y="1268"/>
                    </a:cubicBezTo>
                    <a:close/>
                  </a:path>
                </a:pathLst>
              </a:custGeom>
              <a:solidFill>
                <a:srgbClr val="A31620"/>
              </a:solidFill>
              <a:ln w="38100" cap="flat">
                <a:solidFill>
                  <a:schemeClr val="bg1"/>
                </a:solid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sz="1026"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íṥḻîḋè"/>
              <p:cNvSpPr/>
              <p:nvPr/>
            </p:nvSpPr>
            <p:spPr>
              <a:xfrm>
                <a:off x="2068372" y="3397681"/>
                <a:ext cx="387301" cy="387404"/>
              </a:xfrm>
              <a:custGeom>
                <a:avLst/>
                <a:gdLst/>
                <a:ahLst/>
                <a:cxnLst>
                  <a:cxn ang="0">
                    <a:pos x="wd2" y="hd2"/>
                  </a:cxn>
                  <a:cxn ang="5400000">
                    <a:pos x="wd2" y="hd2"/>
                  </a:cxn>
                  <a:cxn ang="10800000">
                    <a:pos x="wd2" y="hd2"/>
                  </a:cxn>
                  <a:cxn ang="16200000">
                    <a:pos x="wd2" y="hd2"/>
                  </a:cxn>
                </a:cxnLst>
                <a:rect l="0" t="0" r="r" b="b"/>
                <a:pathLst>
                  <a:path w="18915" h="18914" extrusionOk="0">
                    <a:moveTo>
                      <a:pt x="14186" y="17646"/>
                    </a:moveTo>
                    <a:cubicBezTo>
                      <a:pt x="9662" y="20257"/>
                      <a:pt x="3880" y="18707"/>
                      <a:pt x="1269" y="14185"/>
                    </a:cubicBezTo>
                    <a:cubicBezTo>
                      <a:pt x="-1343" y="9662"/>
                      <a:pt x="207" y="3879"/>
                      <a:pt x="4730" y="1268"/>
                    </a:cubicBezTo>
                    <a:cubicBezTo>
                      <a:pt x="9252" y="-1343"/>
                      <a:pt x="15035" y="207"/>
                      <a:pt x="17647" y="4729"/>
                    </a:cubicBezTo>
                    <a:cubicBezTo>
                      <a:pt x="20257" y="9252"/>
                      <a:pt x="18708" y="15035"/>
                      <a:pt x="14186" y="17646"/>
                    </a:cubicBezTo>
                    <a:close/>
                  </a:path>
                </a:pathLst>
              </a:custGeom>
              <a:solidFill>
                <a:srgbClr val="A31620"/>
              </a:solidFill>
              <a:ln w="38100" cap="flat">
                <a:solidFill>
                  <a:schemeClr val="bg1"/>
                </a:solidFill>
                <a:miter lim="400000"/>
              </a:ln>
              <a:effectLst/>
            </p:spPr>
            <p:txBody>
              <a:bodyPr wrap="square" lIns="66998" tIns="33499" rIns="66998" bIns="33499"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sz="1026">
                  <a:latin typeface="微软雅黑" panose="020B0503020204020204" pitchFamily="34" charset="-122"/>
                  <a:ea typeface="微软雅黑" panose="020B0503020204020204" pitchFamily="34" charset="-122"/>
                  <a:sym typeface="微软雅黑" panose="020B0503020204020204" pitchFamily="34" charset="-122"/>
                </a:endParaRPr>
              </a:p>
            </p:txBody>
          </p:sp>
        </p:grpSp>
        <p:pic>
          <p:nvPicPr>
            <p:cNvPr id="45" name="Graphic 10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18596" y="3396747"/>
              <a:ext cx="640080" cy="640080"/>
            </a:xfrm>
            <a:prstGeom prst="rect">
              <a:avLst/>
            </a:prstGeom>
          </p:spPr>
        </p:pic>
        <p:pic>
          <p:nvPicPr>
            <p:cNvPr id="46" name="Graphic 33"/>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17324" y="3429000"/>
              <a:ext cx="640080" cy="640080"/>
            </a:xfrm>
            <a:prstGeom prst="rect">
              <a:avLst/>
            </a:prstGeom>
          </p:spPr>
        </p:pic>
      </p:grpSp>
      <p:sp>
        <p:nvSpPr>
          <p:cNvPr id="56" name="Rectangle 55"/>
          <p:cNvSpPr/>
          <p:nvPr/>
        </p:nvSpPr>
        <p:spPr>
          <a:xfrm>
            <a:off x="6232011" y="913058"/>
            <a:ext cx="1261885" cy="307777"/>
          </a:xfrm>
          <a:prstGeom prst="rect">
            <a:avLst/>
          </a:prstGeom>
        </p:spPr>
        <p:txBody>
          <a:bodyPr wrap="none">
            <a:spAutoFit/>
          </a:bodyPr>
          <a:lstStyle/>
          <a:p>
            <a:pPr algn="ctr"/>
            <a:r>
              <a:rPr lang="zh-CN" altLang="en-US" sz="1400"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中心建设考核</a:t>
            </a:r>
          </a:p>
        </p:txBody>
      </p:sp>
      <p:sp>
        <p:nvSpPr>
          <p:cNvPr id="57" name="Rectangle 56"/>
          <p:cNvSpPr/>
          <p:nvPr/>
        </p:nvSpPr>
        <p:spPr>
          <a:xfrm>
            <a:off x="7135712" y="2389660"/>
            <a:ext cx="1261884" cy="307777"/>
          </a:xfrm>
          <a:prstGeom prst="rect">
            <a:avLst/>
          </a:prstGeom>
        </p:spPr>
        <p:txBody>
          <a:bodyPr wrap="none">
            <a:spAutoFit/>
          </a:bodyPr>
          <a:lstStyle/>
          <a:p>
            <a:r>
              <a:rPr lang="zh-CN" altLang="en-US" sz="1400"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诊疗能力考核</a:t>
            </a:r>
          </a:p>
        </p:txBody>
      </p:sp>
      <p:sp>
        <p:nvSpPr>
          <p:cNvPr id="58" name="Rectangle 57"/>
          <p:cNvSpPr/>
          <p:nvPr/>
        </p:nvSpPr>
        <p:spPr>
          <a:xfrm>
            <a:off x="3581400" y="2355099"/>
            <a:ext cx="1529903" cy="523220"/>
          </a:xfrm>
          <a:prstGeom prst="rect">
            <a:avLst/>
          </a:prstGeom>
        </p:spPr>
        <p:txBody>
          <a:bodyPr wrap="square">
            <a:spAutoFit/>
          </a:bodyPr>
          <a:lstStyle/>
          <a:p>
            <a:pPr algn="ctr"/>
            <a:r>
              <a:rPr lang="zh-CN" altLang="en-US" sz="1400"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培训与数据库</a:t>
            </a:r>
            <a:endParaRPr lang="en-US" altLang="zh-CN" sz="1400"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algn="ctr"/>
            <a:r>
              <a:rPr lang="zh-CN" altLang="en-US" sz="1400" b="1" dirty="0">
                <a:solidFill>
                  <a:srgbClr val="C00000"/>
                </a:solidFill>
                <a:latin typeface="微软雅黑" panose="020B0503020204020204" pitchFamily="34" charset="-122"/>
                <a:ea typeface="微软雅黑" panose="020B0503020204020204" pitchFamily="34" charset="-122"/>
                <a:cs typeface="+mn-ea"/>
                <a:sym typeface="微软雅黑" panose="020B0503020204020204" pitchFamily="34" charset="-122"/>
              </a:rPr>
              <a:t>管理考核</a:t>
            </a:r>
          </a:p>
        </p:txBody>
      </p:sp>
      <p:sp>
        <p:nvSpPr>
          <p:cNvPr id="143" name="文本框 142"/>
          <p:cNvSpPr txBox="1"/>
          <p:nvPr/>
        </p:nvSpPr>
        <p:spPr>
          <a:xfrm>
            <a:off x="3814444" y="5301787"/>
            <a:ext cx="530915" cy="295337"/>
          </a:xfrm>
          <a:prstGeom prst="rect">
            <a:avLst/>
          </a:prstGeom>
          <a:noFill/>
        </p:spPr>
        <p:txBody>
          <a:bodyPr wrap="none" rtlCol="0">
            <a:spAutoFit/>
          </a:bodyPr>
          <a:lstStyle/>
          <a:p>
            <a:r>
              <a:rPr lang="en-US" altLang="zh-CN" sz="1319">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14-</a:t>
            </a:r>
          </a:p>
        </p:txBody>
      </p:sp>
      <p:grpSp>
        <p:nvGrpSpPr>
          <p:cNvPr id="21" name="Group 20"/>
          <p:cNvGrpSpPr/>
          <p:nvPr/>
        </p:nvGrpSpPr>
        <p:grpSpPr>
          <a:xfrm>
            <a:off x="4496700" y="3089702"/>
            <a:ext cx="3329180" cy="942231"/>
            <a:chOff x="12112769" y="1045487"/>
            <a:chExt cx="4543714" cy="1285972"/>
          </a:xfrm>
        </p:grpSpPr>
        <p:sp>
          <p:nvSpPr>
            <p:cNvPr id="22" name="矩形 41"/>
            <p:cNvSpPr/>
            <p:nvPr/>
          </p:nvSpPr>
          <p:spPr>
            <a:xfrm>
              <a:off x="12131055" y="1432695"/>
              <a:ext cx="4525428" cy="898764"/>
            </a:xfrm>
            <a:prstGeom prst="rect">
              <a:avLst/>
            </a:prstGeom>
            <a:solidFill>
              <a:schemeClr val="bg1"/>
            </a:solid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09369" indent="-209369">
                <a:lnSpc>
                  <a:spcPct val="125000"/>
                </a:lnSpc>
                <a:buFont typeface="Arial" panose="020B0604020202090204" pitchFamily="34" charset="0"/>
                <a:buChar char="•"/>
              </a:pPr>
              <a:r>
                <a:rPr lang="en-US" altLang="zh-CN"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均质化诊疗管理团队</a:t>
              </a:r>
            </a:p>
            <a:p>
              <a:pPr marL="209369" indent="-209369">
                <a:lnSpc>
                  <a:spcPct val="125000"/>
                </a:lnSpc>
                <a:buFont typeface="Arial" panose="020B0604020202090204" pitchFamily="34" charset="0"/>
                <a:buChar char="•"/>
              </a:pPr>
              <a:r>
                <a:rPr lang="zh-CN" altLang="en-US"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医院对</a:t>
              </a:r>
              <a:r>
                <a:rPr lang="en-US" altLang="zh-CN"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均质化诊疗中心的支持</a:t>
              </a:r>
              <a:endParaRPr lang="en-US" altLang="zh-CN"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marL="209369" indent="-209369">
                <a:lnSpc>
                  <a:spcPct val="125000"/>
                </a:lnSpc>
                <a:buFont typeface="Arial" panose="020B0604020202090204" pitchFamily="34" charset="0"/>
                <a:buChar char="•"/>
              </a:pPr>
              <a:r>
                <a:rPr lang="en-US" altLang="zh-CN"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0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专业人员及门诊出诊</a:t>
              </a:r>
            </a:p>
          </p:txBody>
        </p:sp>
        <p:sp>
          <p:nvSpPr>
            <p:cNvPr id="23" name="Rectangle 62"/>
            <p:cNvSpPr/>
            <p:nvPr/>
          </p:nvSpPr>
          <p:spPr>
            <a:xfrm>
              <a:off x="12112769" y="1045487"/>
              <a:ext cx="4531390" cy="362791"/>
            </a:xfrm>
            <a:prstGeom prst="rect">
              <a:avLst/>
            </a:prstGeom>
            <a:solidFill>
              <a:srgbClr val="A316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zh-CN" altLang="en-US" sz="1026" b="1" dirty="0">
                  <a:latin typeface="微软雅黑" panose="020B0503020204020204" pitchFamily="34" charset="-122"/>
                  <a:ea typeface="微软雅黑" panose="020B0503020204020204" pitchFamily="34" charset="-122"/>
                  <a:cs typeface="+mn-ea"/>
                  <a:sym typeface="微软雅黑" panose="020B0503020204020204" pitchFamily="34" charset="-122"/>
                </a:rPr>
                <a:t>中心建设考核</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满分：</a:t>
              </a:r>
              <a:r>
                <a:rPr lang="en-US" altLang="zh-CN"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260</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分）</a:t>
              </a:r>
              <a:endParaRPr lang="zh-CN" altLang="en-US" sz="1026" b="1" u="sng"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nvGrpSpPr>
          <p:cNvPr id="24" name="Group 23"/>
          <p:cNvGrpSpPr/>
          <p:nvPr/>
        </p:nvGrpSpPr>
        <p:grpSpPr>
          <a:xfrm>
            <a:off x="4494090" y="5343760"/>
            <a:ext cx="3315781" cy="1121564"/>
            <a:chOff x="8214735" y="3697219"/>
            <a:chExt cx="4525426" cy="1530728"/>
          </a:xfrm>
        </p:grpSpPr>
        <p:sp>
          <p:nvSpPr>
            <p:cNvPr id="25" name="矩形 72"/>
            <p:cNvSpPr/>
            <p:nvPr/>
          </p:nvSpPr>
          <p:spPr>
            <a:xfrm>
              <a:off x="8230475" y="3893858"/>
              <a:ext cx="4492774" cy="1304334"/>
            </a:xfrm>
            <a:prstGeom prst="rect">
              <a:avLst/>
            </a:prstGeom>
            <a:no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026"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6" name="Rectangle 64"/>
            <p:cNvSpPr/>
            <p:nvPr/>
          </p:nvSpPr>
          <p:spPr>
            <a:xfrm>
              <a:off x="8214735" y="3697219"/>
              <a:ext cx="4525426" cy="368300"/>
            </a:xfrm>
            <a:prstGeom prst="rect">
              <a:avLst/>
            </a:prstGeom>
            <a:solidFill>
              <a:srgbClr val="A3162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r>
                <a:rPr lang="zh-CN" altLang="en-US" sz="1026" b="1"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 诊疗能力考核</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满分：</a:t>
              </a:r>
              <a:r>
                <a:rPr lang="en-US" altLang="zh-CN"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260</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分）</a:t>
              </a:r>
              <a:r>
                <a:rPr lang="en-US" altLang="zh-CN"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额外奖励</a:t>
              </a:r>
              <a:r>
                <a:rPr lang="en-US" altLang="zh-CN"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40</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分</a:t>
              </a:r>
            </a:p>
          </p:txBody>
        </p:sp>
        <p:sp>
          <p:nvSpPr>
            <p:cNvPr id="27" name="Rectangle 26"/>
            <p:cNvSpPr/>
            <p:nvPr/>
          </p:nvSpPr>
          <p:spPr>
            <a:xfrm>
              <a:off x="8250019" y="4075763"/>
              <a:ext cx="2866009" cy="1152184"/>
            </a:xfrm>
            <a:prstGeom prst="rect">
              <a:avLst/>
            </a:prstGeom>
          </p:spPr>
          <p:txBody>
            <a:bodyPr wrap="square">
              <a:spAutoFit/>
            </a:bodyPr>
            <a:lstStyle/>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明确诊断患者数量</a:t>
              </a: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生活质量评估</a:t>
              </a:r>
              <a:endParaRPr lang="en-US" altLang="zh-CN" sz="1000" dirty="0">
                <a:latin typeface="微软雅黑" panose="020B0503020204020204" pitchFamily="34" charset="-122"/>
                <a:ea typeface="微软雅黑" panose="020B0503020204020204" pitchFamily="34" charset="-122"/>
                <a:sym typeface="微软雅黑" panose="020B0503020204020204" pitchFamily="34" charset="-122"/>
              </a:endParaRP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实验室检查上传</a:t>
              </a: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sym typeface="微软雅黑" panose="020B0503020204020204" pitchFamily="34" charset="-122"/>
                </a:rPr>
                <a:t>随访率</a:t>
              </a:r>
            </a:p>
          </p:txBody>
        </p:sp>
      </p:grpSp>
      <p:grpSp>
        <p:nvGrpSpPr>
          <p:cNvPr id="28" name="Group 27"/>
          <p:cNvGrpSpPr/>
          <p:nvPr/>
        </p:nvGrpSpPr>
        <p:grpSpPr>
          <a:xfrm>
            <a:off x="4494088" y="4096584"/>
            <a:ext cx="3337759" cy="1168497"/>
            <a:chOff x="453001" y="3546068"/>
            <a:chExt cx="4204843" cy="2230292"/>
          </a:xfrm>
        </p:grpSpPr>
        <p:sp>
          <p:nvSpPr>
            <p:cNvPr id="29" name="矩形 71"/>
            <p:cNvSpPr/>
            <p:nvPr/>
          </p:nvSpPr>
          <p:spPr>
            <a:xfrm>
              <a:off x="453002" y="3650519"/>
              <a:ext cx="4177156" cy="2048165"/>
            </a:xfrm>
            <a:prstGeom prst="rect">
              <a:avLst/>
            </a:prstGeom>
            <a:noFill/>
            <a:ln>
              <a:solidFill>
                <a:srgbClr val="A3162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026"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0" name="Rectangle 63"/>
            <p:cNvSpPr/>
            <p:nvPr/>
          </p:nvSpPr>
          <p:spPr>
            <a:xfrm>
              <a:off x="453001" y="3546068"/>
              <a:ext cx="4197325" cy="584416"/>
            </a:xfrm>
            <a:prstGeom prst="rect">
              <a:avLst/>
            </a:prstGeom>
            <a:solidFill>
              <a:srgbClr val="A3162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r>
                <a:rPr lang="zh-CN" altLang="en-US" sz="1026" b="1"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    培训与数据库管理考核</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满分：</a:t>
              </a:r>
              <a:r>
                <a:rPr lang="en-US" altLang="zh-CN"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260</a:t>
              </a:r>
              <a:r>
                <a:rPr lang="zh-CN" altLang="en-US" sz="1200" b="1" u="sng" dirty="0">
                  <a:latin typeface="微软雅黑" panose="020B0503020204020204" pitchFamily="34" charset="-122"/>
                  <a:ea typeface="微软雅黑" panose="020B0503020204020204" pitchFamily="34" charset="-122"/>
                  <a:cs typeface="+mn-ea"/>
                  <a:sym typeface="微软雅黑" panose="020B0503020204020204" pitchFamily="34" charset="-122"/>
                </a:rPr>
                <a:t>分）</a:t>
              </a:r>
            </a:p>
          </p:txBody>
        </p:sp>
        <p:sp>
          <p:nvSpPr>
            <p:cNvPr id="31" name="Rectangle 30"/>
            <p:cNvSpPr/>
            <p:nvPr/>
          </p:nvSpPr>
          <p:spPr>
            <a:xfrm>
              <a:off x="510828" y="4165039"/>
              <a:ext cx="4147016" cy="1611321"/>
            </a:xfrm>
            <a:prstGeom prst="rect">
              <a:avLst/>
            </a:prstGeom>
          </p:spPr>
          <p:txBody>
            <a:bodyPr wrap="square">
              <a:spAutoFit/>
            </a:bodyPr>
            <a:lstStyle/>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培训与教育</a:t>
              </a: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数据库管理</a:t>
              </a: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病例录入数量及有效病例数 </a:t>
              </a:r>
              <a:endParaRPr lang="en-US" altLang="zh-CN" sz="10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marL="209369" indent="-209369">
                <a:lnSpc>
                  <a:spcPct val="125000"/>
                </a:lnSpc>
                <a:buFont typeface="Arial" panose="020B0604020202090204" pitchFamily="34" charset="0"/>
                <a:buChar char="•"/>
              </a:pPr>
              <a:r>
                <a:rPr lang="zh-CN" altLang="en-US" sz="10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皮损照片上传完整率</a:t>
              </a:r>
            </a:p>
          </p:txBody>
        </p:sp>
      </p:grpSp>
      <p:sp>
        <p:nvSpPr>
          <p:cNvPr id="11" name="文本框 10"/>
          <p:cNvSpPr txBox="1"/>
          <p:nvPr/>
        </p:nvSpPr>
        <p:spPr>
          <a:xfrm>
            <a:off x="7993582" y="6471366"/>
            <a:ext cx="530915" cy="295337"/>
          </a:xfrm>
          <a:prstGeom prst="rect">
            <a:avLst/>
          </a:prstGeom>
          <a:noFill/>
        </p:spPr>
        <p:txBody>
          <a:bodyPr wrap="none" rtlCol="0">
            <a:spAutoFit/>
          </a:bodyPr>
          <a:lstStyle/>
          <a:p>
            <a:r>
              <a:rPr lang="en-US" altLang="zh-CN" sz="1319">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15-</a:t>
            </a:r>
          </a:p>
        </p:txBody>
      </p:sp>
      <p:sp>
        <p:nvSpPr>
          <p:cNvPr id="39" name="文本框 38">
            <a:extLst>
              <a:ext uri="{FF2B5EF4-FFF2-40B4-BE49-F238E27FC236}">
                <a16:creationId xmlns:a16="http://schemas.microsoft.com/office/drawing/2014/main" id="{2F87807E-D8A3-441A-9468-7B334DC05A62}"/>
              </a:ext>
            </a:extLst>
          </p:cNvPr>
          <p:cNvSpPr txBox="1"/>
          <p:nvPr/>
        </p:nvSpPr>
        <p:spPr>
          <a:xfrm>
            <a:off x="1767935" y="843009"/>
            <a:ext cx="3176199" cy="1444691"/>
          </a:xfrm>
          <a:prstGeom prst="rect">
            <a:avLst/>
          </a:prstGeom>
          <a:noFill/>
          <a:ln>
            <a:solidFill>
              <a:srgbClr val="9B000B"/>
            </a:solidFill>
            <a:prstDash val="sysDash"/>
          </a:ln>
        </p:spPr>
        <p:txBody>
          <a:bodyPr wrap="square" rtlCol="0">
            <a:spAutoFit/>
          </a:bodyPr>
          <a:lstStyle/>
          <a:p>
            <a:pPr marL="125621" indent="-125621">
              <a:lnSpc>
                <a:spcPct val="150000"/>
              </a:lnSpc>
              <a:buFont typeface="Wingdings" panose="05000000000000000000" pitchFamily="2" charset="2"/>
              <a:buChar char="u"/>
            </a:pP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满分：</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780</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特应性皮炎</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填写</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DCT</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量表，可额外奖励</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marL="125621" indent="-125621">
              <a:lnSpc>
                <a:spcPct val="150000"/>
              </a:lnSpc>
              <a:buFont typeface="Wingdings" panose="05000000000000000000" pitchFamily="2" charset="2"/>
              <a:buChar char="u"/>
            </a:pP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合格标准为：</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400</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marL="125621" indent="-125621">
              <a:lnSpc>
                <a:spcPct val="150000"/>
              </a:lnSpc>
              <a:buFont typeface="Wingdings" panose="05000000000000000000" pitchFamily="2" charset="2"/>
              <a:buChar char="u"/>
            </a:pP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合格单位可在</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023</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年</a:t>
            </a:r>
            <a:r>
              <a:rPr lang="en-US" altLang="zh-CN"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4</a:t>
            </a:r>
            <a:r>
              <a:rPr lang="zh-CN" altLang="en-US" sz="1200" b="1" dirty="0">
                <a:solidFill>
                  <a:srgbClr val="C00000"/>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中期总结会中获得协作单位授牌</a:t>
            </a:r>
          </a:p>
        </p:txBody>
      </p:sp>
      <p:pic>
        <p:nvPicPr>
          <p:cNvPr id="40" name="图片 39" descr="文本&#10;&#10;描述已自动生成">
            <a:extLst>
              <a:ext uri="{FF2B5EF4-FFF2-40B4-BE49-F238E27FC236}">
                <a16:creationId xmlns:a16="http://schemas.microsoft.com/office/drawing/2014/main" id="{30FB68BA-98B8-4007-B4CC-D94668237E7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75585" y="780358"/>
            <a:ext cx="2645160" cy="1763190"/>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extLst>
              <a:ext uri="{FF2B5EF4-FFF2-40B4-BE49-F238E27FC236}">
                <a16:creationId xmlns:a16="http://schemas.microsoft.com/office/drawing/2014/main" id="{13E724E1-9CF6-469F-955D-9CF9E8F01D4F}"/>
              </a:ext>
            </a:extLst>
          </p:cNvPr>
          <p:cNvSpPr/>
          <p:nvPr/>
        </p:nvSpPr>
        <p:spPr>
          <a:xfrm>
            <a:off x="1239249" y="1734245"/>
            <a:ext cx="3810000" cy="4514156"/>
          </a:xfrm>
          <a:prstGeom prst="rect">
            <a:avLst/>
          </a:prstGeom>
          <a:no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F565F69B-3721-4556-92C7-A7DE6CD751CD}"/>
              </a:ext>
            </a:extLst>
          </p:cNvPr>
          <p:cNvSpPr>
            <a:spLocks noGrp="1"/>
          </p:cNvSpPr>
          <p:nvPr>
            <p:ph type="title"/>
          </p:nvPr>
        </p:nvSpPr>
        <p:spPr>
          <a:xfrm>
            <a:off x="609600" y="762000"/>
            <a:ext cx="10363200" cy="615553"/>
          </a:xfrm>
        </p:spPr>
        <p:txBody>
          <a:bodyPr/>
          <a:lstStyle/>
          <a:p>
            <a:r>
              <a:rPr lang="zh-CN" altLang="en-US" dirty="0"/>
              <a:t>中国</a:t>
            </a:r>
            <a:r>
              <a:rPr lang="en-US" altLang="zh-CN" dirty="0"/>
              <a:t>2</a:t>
            </a:r>
            <a:r>
              <a:rPr lang="zh-CN" altLang="en-US" dirty="0"/>
              <a:t>型炎症皮肤病临床研究均质化诊疗项目第二批协作单位认证核查于</a:t>
            </a:r>
            <a:r>
              <a:rPr lang="en-US" altLang="zh-CN" dirty="0"/>
              <a:t>11</a:t>
            </a:r>
            <a:r>
              <a:rPr lang="zh-CN" altLang="en-US" dirty="0"/>
              <a:t>月正式启动</a:t>
            </a:r>
          </a:p>
        </p:txBody>
      </p:sp>
      <p:sp>
        <p:nvSpPr>
          <p:cNvPr id="5" name="文本框 4">
            <a:extLst>
              <a:ext uri="{FF2B5EF4-FFF2-40B4-BE49-F238E27FC236}">
                <a16:creationId xmlns:a16="http://schemas.microsoft.com/office/drawing/2014/main" id="{6EB5B160-4C80-45D3-9352-69DDADDDCACE}"/>
              </a:ext>
            </a:extLst>
          </p:cNvPr>
          <p:cNvSpPr txBox="1"/>
          <p:nvPr/>
        </p:nvSpPr>
        <p:spPr>
          <a:xfrm>
            <a:off x="153960" y="1221435"/>
            <a:ext cx="6400800" cy="338554"/>
          </a:xfrm>
          <a:prstGeom prst="rect">
            <a:avLst/>
          </a:prstGeom>
          <a:noFill/>
        </p:spPr>
        <p:txBody>
          <a:bodyPr wrap="square">
            <a:spAutoFit/>
          </a:bodyPr>
          <a:lstStyle/>
          <a:p>
            <a:pPr marL="285750" indent="-285750">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认证核查数据：</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2022</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10</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月</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日</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2022</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12</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月</a:t>
            </a:r>
            <a:r>
              <a:rPr lang="en-US" altLang="zh-CN" sz="1600" b="1" dirty="0">
                <a:latin typeface="微软雅黑" panose="020B0503020204020204" pitchFamily="34" charset="-122"/>
                <a:ea typeface="微软雅黑" panose="020B0503020204020204" pitchFamily="34" charset="-122"/>
                <a:sym typeface="微软雅黑" panose="020B0503020204020204" pitchFamily="34" charset="-122"/>
              </a:rPr>
              <a:t>31</a:t>
            </a:r>
            <a:r>
              <a:rPr lang="zh-CN" altLang="en-US" sz="1600" b="1" dirty="0">
                <a:latin typeface="微软雅黑" panose="020B0503020204020204" pitchFamily="34" charset="-122"/>
                <a:ea typeface="微软雅黑" panose="020B0503020204020204" pitchFamily="34" charset="-122"/>
                <a:sym typeface="微软雅黑" panose="020B0503020204020204" pitchFamily="34" charset="-122"/>
              </a:rPr>
              <a:t>日的数据</a:t>
            </a:r>
            <a:endParaRPr lang="en-US" altLang="zh-CN" sz="1600" b="1" dirty="0">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6" name="图片 5">
            <a:extLst>
              <a:ext uri="{FF2B5EF4-FFF2-40B4-BE49-F238E27FC236}">
                <a16:creationId xmlns:a16="http://schemas.microsoft.com/office/drawing/2014/main" id="{9A794020-2B2C-4F35-BD72-FB1FE16D45E9}"/>
              </a:ext>
            </a:extLst>
          </p:cNvPr>
          <p:cNvPicPr>
            <a:picLocks noChangeAspect="1"/>
          </p:cNvPicPr>
          <p:nvPr/>
        </p:nvPicPr>
        <p:blipFill rotWithShape="1">
          <a:blip r:embed="rId2"/>
          <a:srcRect t="7089" b="11800"/>
          <a:stretch/>
        </p:blipFill>
        <p:spPr>
          <a:xfrm>
            <a:off x="6400800" y="1411332"/>
            <a:ext cx="2452250" cy="4671247"/>
          </a:xfrm>
          <a:prstGeom prst="rect">
            <a:avLst/>
          </a:prstGeom>
        </p:spPr>
      </p:pic>
      <p:pic>
        <p:nvPicPr>
          <p:cNvPr id="7" name="图片 6">
            <a:extLst>
              <a:ext uri="{FF2B5EF4-FFF2-40B4-BE49-F238E27FC236}">
                <a16:creationId xmlns:a16="http://schemas.microsoft.com/office/drawing/2014/main" id="{F87285DE-1FD2-4B88-8A7F-763F269D0B90}"/>
              </a:ext>
            </a:extLst>
          </p:cNvPr>
          <p:cNvPicPr>
            <a:picLocks noChangeAspect="1"/>
          </p:cNvPicPr>
          <p:nvPr/>
        </p:nvPicPr>
        <p:blipFill rotWithShape="1">
          <a:blip r:embed="rId3"/>
          <a:srcRect t="27876" b="8889"/>
          <a:stretch/>
        </p:blipFill>
        <p:spPr>
          <a:xfrm>
            <a:off x="8853050" y="1588557"/>
            <a:ext cx="2920181" cy="4336677"/>
          </a:xfrm>
          <a:prstGeom prst="rect">
            <a:avLst/>
          </a:prstGeom>
        </p:spPr>
      </p:pic>
      <p:sp>
        <p:nvSpPr>
          <p:cNvPr id="8" name="文本框 7">
            <a:extLst>
              <a:ext uri="{FF2B5EF4-FFF2-40B4-BE49-F238E27FC236}">
                <a16:creationId xmlns:a16="http://schemas.microsoft.com/office/drawing/2014/main" id="{8BEBA8EC-EE32-463B-AB79-9AADFAB09AFD}"/>
              </a:ext>
            </a:extLst>
          </p:cNvPr>
          <p:cNvSpPr txBox="1"/>
          <p:nvPr/>
        </p:nvSpPr>
        <p:spPr>
          <a:xfrm>
            <a:off x="1477465" y="1952432"/>
            <a:ext cx="3046833" cy="338554"/>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录入新病例和补充病例材料</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文本框 8">
            <a:extLst>
              <a:ext uri="{FF2B5EF4-FFF2-40B4-BE49-F238E27FC236}">
                <a16:creationId xmlns:a16="http://schemas.microsoft.com/office/drawing/2014/main" id="{02817BEB-41B0-430B-9516-48CB86A664C1}"/>
              </a:ext>
            </a:extLst>
          </p:cNvPr>
          <p:cNvSpPr txBox="1"/>
          <p:nvPr/>
        </p:nvSpPr>
        <p:spPr>
          <a:xfrm>
            <a:off x="1477464" y="2731111"/>
            <a:ext cx="3077943" cy="338554"/>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数据库开放核查窗口</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文本框 9">
            <a:extLst>
              <a:ext uri="{FF2B5EF4-FFF2-40B4-BE49-F238E27FC236}">
                <a16:creationId xmlns:a16="http://schemas.microsoft.com/office/drawing/2014/main" id="{8186B365-9BBF-46E1-A86B-01AB65413DB6}"/>
              </a:ext>
            </a:extLst>
          </p:cNvPr>
          <p:cNvSpPr txBox="1"/>
          <p:nvPr/>
        </p:nvSpPr>
        <p:spPr>
          <a:xfrm>
            <a:off x="1477465" y="3485045"/>
            <a:ext cx="3046833" cy="338554"/>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全国协作单位提交核查材料</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文本框 10">
            <a:extLst>
              <a:ext uri="{FF2B5EF4-FFF2-40B4-BE49-F238E27FC236}">
                <a16:creationId xmlns:a16="http://schemas.microsoft.com/office/drawing/2014/main" id="{AB7A1D41-B606-4D31-9293-750A6B30D700}"/>
              </a:ext>
            </a:extLst>
          </p:cNvPr>
          <p:cNvSpPr txBox="1"/>
          <p:nvPr/>
        </p:nvSpPr>
        <p:spPr>
          <a:xfrm>
            <a:off x="1477465" y="4236926"/>
            <a:ext cx="3046833" cy="338554"/>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项目专家组核查</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12">
            <a:extLst>
              <a:ext uri="{FF2B5EF4-FFF2-40B4-BE49-F238E27FC236}">
                <a16:creationId xmlns:a16="http://schemas.microsoft.com/office/drawing/2014/main" id="{2114EE63-7F29-4EB1-AFE7-C065EDE88355}"/>
              </a:ext>
            </a:extLst>
          </p:cNvPr>
          <p:cNvSpPr/>
          <p:nvPr/>
        </p:nvSpPr>
        <p:spPr>
          <a:xfrm>
            <a:off x="6070885" y="1464105"/>
            <a:ext cx="5677231" cy="4784296"/>
          </a:xfrm>
          <a:prstGeom prst="rect">
            <a:avLst/>
          </a:prstGeom>
          <a:no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D43F4A0E-FB17-4C31-BDDE-BA235EFF6719}"/>
              </a:ext>
            </a:extLst>
          </p:cNvPr>
          <p:cNvSpPr txBox="1"/>
          <p:nvPr/>
        </p:nvSpPr>
        <p:spPr>
          <a:xfrm>
            <a:off x="7609269" y="1259581"/>
            <a:ext cx="3048000" cy="338554"/>
          </a:xfrm>
          <a:prstGeom prst="rect">
            <a:avLst/>
          </a:prstGeom>
          <a:solidFill>
            <a:srgbClr val="9B000B"/>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项目公众号已发布核查通知</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文本框 13">
            <a:extLst>
              <a:ext uri="{FF2B5EF4-FFF2-40B4-BE49-F238E27FC236}">
                <a16:creationId xmlns:a16="http://schemas.microsoft.com/office/drawing/2014/main" id="{1BAD064A-450B-41C8-AE89-E9202FFC28E1}"/>
              </a:ext>
            </a:extLst>
          </p:cNvPr>
          <p:cNvSpPr txBox="1"/>
          <p:nvPr/>
        </p:nvSpPr>
        <p:spPr>
          <a:xfrm>
            <a:off x="1477464" y="4988807"/>
            <a:ext cx="3077942" cy="584775"/>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北大高峰论坛暨总结授牌大会</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公布结果</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箭头: 下 14">
            <a:extLst>
              <a:ext uri="{FF2B5EF4-FFF2-40B4-BE49-F238E27FC236}">
                <a16:creationId xmlns:a16="http://schemas.microsoft.com/office/drawing/2014/main" id="{A178C583-9E93-4B9E-A64D-79A38B7C0037}"/>
              </a:ext>
            </a:extLst>
          </p:cNvPr>
          <p:cNvSpPr/>
          <p:nvPr/>
        </p:nvSpPr>
        <p:spPr>
          <a:xfrm>
            <a:off x="2833911" y="2349114"/>
            <a:ext cx="359055" cy="152400"/>
          </a:xfrm>
          <a:prstGeom prst="downArrow">
            <a:avLst/>
          </a:prstGeom>
          <a:solidFill>
            <a:srgbClr val="953735"/>
          </a:solid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箭头: 下 15">
            <a:extLst>
              <a:ext uri="{FF2B5EF4-FFF2-40B4-BE49-F238E27FC236}">
                <a16:creationId xmlns:a16="http://schemas.microsoft.com/office/drawing/2014/main" id="{7F78CD42-858A-4028-8F18-D7B4F94BA97D}"/>
              </a:ext>
            </a:extLst>
          </p:cNvPr>
          <p:cNvSpPr/>
          <p:nvPr/>
        </p:nvSpPr>
        <p:spPr>
          <a:xfrm>
            <a:off x="2794636" y="3143441"/>
            <a:ext cx="359055" cy="152400"/>
          </a:xfrm>
          <a:prstGeom prst="downArrow">
            <a:avLst/>
          </a:prstGeom>
          <a:solidFill>
            <a:srgbClr val="953735"/>
          </a:solid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箭头: 下 16">
            <a:extLst>
              <a:ext uri="{FF2B5EF4-FFF2-40B4-BE49-F238E27FC236}">
                <a16:creationId xmlns:a16="http://schemas.microsoft.com/office/drawing/2014/main" id="{558DFB0E-7309-4757-B2CB-A40741DB6E8E}"/>
              </a:ext>
            </a:extLst>
          </p:cNvPr>
          <p:cNvSpPr/>
          <p:nvPr/>
        </p:nvSpPr>
        <p:spPr>
          <a:xfrm>
            <a:off x="2774917" y="3893257"/>
            <a:ext cx="359055" cy="152400"/>
          </a:xfrm>
          <a:prstGeom prst="downArrow">
            <a:avLst/>
          </a:prstGeom>
          <a:solidFill>
            <a:srgbClr val="953735"/>
          </a:solid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箭头: 下 17">
            <a:extLst>
              <a:ext uri="{FF2B5EF4-FFF2-40B4-BE49-F238E27FC236}">
                <a16:creationId xmlns:a16="http://schemas.microsoft.com/office/drawing/2014/main" id="{DA0E5966-2784-4728-BD7E-6E6F4D539A15}"/>
              </a:ext>
            </a:extLst>
          </p:cNvPr>
          <p:cNvSpPr/>
          <p:nvPr/>
        </p:nvSpPr>
        <p:spPr>
          <a:xfrm>
            <a:off x="2786558" y="4699208"/>
            <a:ext cx="359055" cy="152400"/>
          </a:xfrm>
          <a:prstGeom prst="downArrow">
            <a:avLst/>
          </a:prstGeom>
          <a:solidFill>
            <a:srgbClr val="953735"/>
          </a:solid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03A9F02B-5E9D-4FD1-8EA7-AB94F0EA126D}"/>
              </a:ext>
            </a:extLst>
          </p:cNvPr>
          <p:cNvSpPr txBox="1"/>
          <p:nvPr/>
        </p:nvSpPr>
        <p:spPr>
          <a:xfrm>
            <a:off x="1435810" y="2282901"/>
            <a:ext cx="1552421" cy="461665"/>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2</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日</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2</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31</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日</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文本框 19">
            <a:extLst>
              <a:ext uri="{FF2B5EF4-FFF2-40B4-BE49-F238E27FC236}">
                <a16:creationId xmlns:a16="http://schemas.microsoft.com/office/drawing/2014/main" id="{87A00763-68A8-4D2B-8E29-B96545E8AC7B}"/>
              </a:ext>
            </a:extLst>
          </p:cNvPr>
          <p:cNvSpPr txBox="1"/>
          <p:nvPr/>
        </p:nvSpPr>
        <p:spPr>
          <a:xfrm>
            <a:off x="1454273" y="3849394"/>
            <a:ext cx="1634633" cy="276999"/>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文本框 20">
            <a:extLst>
              <a:ext uri="{FF2B5EF4-FFF2-40B4-BE49-F238E27FC236}">
                <a16:creationId xmlns:a16="http://schemas.microsoft.com/office/drawing/2014/main" id="{8E3581DB-CE02-4D0C-9A24-EA0D78A8E9E9}"/>
              </a:ext>
            </a:extLst>
          </p:cNvPr>
          <p:cNvSpPr txBox="1"/>
          <p:nvPr/>
        </p:nvSpPr>
        <p:spPr>
          <a:xfrm>
            <a:off x="1454273" y="3088630"/>
            <a:ext cx="1224281" cy="276999"/>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文本框 21">
            <a:extLst>
              <a:ext uri="{FF2B5EF4-FFF2-40B4-BE49-F238E27FC236}">
                <a16:creationId xmlns:a16="http://schemas.microsoft.com/office/drawing/2014/main" id="{D22E4AE7-B443-4D04-968A-289A3E8459E5}"/>
              </a:ext>
            </a:extLst>
          </p:cNvPr>
          <p:cNvSpPr txBox="1"/>
          <p:nvPr/>
        </p:nvSpPr>
        <p:spPr>
          <a:xfrm>
            <a:off x="1454273" y="4698649"/>
            <a:ext cx="1634633" cy="276999"/>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箭头: 下 22">
            <a:extLst>
              <a:ext uri="{FF2B5EF4-FFF2-40B4-BE49-F238E27FC236}">
                <a16:creationId xmlns:a16="http://schemas.microsoft.com/office/drawing/2014/main" id="{643C60AD-4B0E-4C01-AC1A-92BAEB4BB6B9}"/>
              </a:ext>
            </a:extLst>
          </p:cNvPr>
          <p:cNvSpPr/>
          <p:nvPr/>
        </p:nvSpPr>
        <p:spPr>
          <a:xfrm>
            <a:off x="2688729" y="5689808"/>
            <a:ext cx="359055" cy="152400"/>
          </a:xfrm>
          <a:prstGeom prst="downArrow">
            <a:avLst/>
          </a:prstGeom>
          <a:solidFill>
            <a:srgbClr val="953735"/>
          </a:solidFill>
          <a:ln>
            <a:solidFill>
              <a:srgbClr val="9537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94C40728-034E-4C0E-AFF1-E0177D784A87}"/>
              </a:ext>
            </a:extLst>
          </p:cNvPr>
          <p:cNvSpPr txBox="1"/>
          <p:nvPr/>
        </p:nvSpPr>
        <p:spPr>
          <a:xfrm>
            <a:off x="1415473" y="5909847"/>
            <a:ext cx="3077942" cy="338554"/>
          </a:xfrm>
          <a:prstGeom prst="rect">
            <a:avLst/>
          </a:prstGeom>
          <a:solidFill>
            <a:srgbClr val="953735"/>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获得授牌</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文本框 24">
            <a:extLst>
              <a:ext uri="{FF2B5EF4-FFF2-40B4-BE49-F238E27FC236}">
                <a16:creationId xmlns:a16="http://schemas.microsoft.com/office/drawing/2014/main" id="{B5645EC6-4367-4C77-A0E5-AEB1B91A4744}"/>
              </a:ext>
            </a:extLst>
          </p:cNvPr>
          <p:cNvSpPr txBox="1"/>
          <p:nvPr/>
        </p:nvSpPr>
        <p:spPr>
          <a:xfrm>
            <a:off x="1477464" y="5627508"/>
            <a:ext cx="1634633" cy="276999"/>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月</a:t>
            </a:r>
            <a:endParaRPr lang="en-US" altLang="zh-CN" sz="1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文本框 26">
            <a:extLst>
              <a:ext uri="{FF2B5EF4-FFF2-40B4-BE49-F238E27FC236}">
                <a16:creationId xmlns:a16="http://schemas.microsoft.com/office/drawing/2014/main" id="{1B084971-1015-4B88-8F77-F95299811DC5}"/>
              </a:ext>
            </a:extLst>
          </p:cNvPr>
          <p:cNvSpPr txBox="1"/>
          <p:nvPr/>
        </p:nvSpPr>
        <p:spPr>
          <a:xfrm>
            <a:off x="2025103" y="1547665"/>
            <a:ext cx="1853381" cy="338554"/>
          </a:xfrm>
          <a:prstGeom prst="rect">
            <a:avLst/>
          </a:prstGeom>
          <a:solidFill>
            <a:srgbClr val="9B000B"/>
          </a:solidFill>
          <a:ln>
            <a:solidFill>
              <a:srgbClr val="953735"/>
            </a:solidFill>
          </a:ln>
        </p:spPr>
        <p:txBody>
          <a:bodyPr wrap="square">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核查时间节点</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901455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30198856"/>
              </p:ext>
            </p:extLst>
          </p:nvPr>
        </p:nvGraphicFramePr>
        <p:xfrm>
          <a:off x="1525191" y="858441"/>
          <a:ext cx="1190" cy="1190"/>
        </p:xfrm>
        <a:graphic>
          <a:graphicData uri="http://schemas.openxmlformats.org/presentationml/2006/ole">
            <mc:AlternateContent xmlns:mc="http://schemas.openxmlformats.org/markup-compatibility/2006">
              <mc:Choice xmlns:v="urn:schemas-microsoft-com:vml" Requires="v">
                <p:oleObj name="think-cell 幻灯片" r:id="rId4" imgW="216" imgH="216" progId="TCLayout.ActiveDocument.1">
                  <p:embed/>
                </p:oleObj>
              </mc:Choice>
              <mc:Fallback>
                <p:oleObj name="think-cell 幻灯片" r:id="rId4" imgW="216" imgH="216" progId="TCLayout.ActiveDocument.1">
                  <p:embed/>
                  <p:pic>
                    <p:nvPicPr>
                      <p:cNvPr id="2" name="Object 1" hidden="1"/>
                      <p:cNvPicPr/>
                      <p:nvPr/>
                    </p:nvPicPr>
                    <p:blipFill>
                      <a:blip r:embed="rId5"/>
                      <a:stretch>
                        <a:fillRect/>
                      </a:stretch>
                    </p:blipFill>
                    <p:spPr>
                      <a:xfrm>
                        <a:off x="1525191" y="858441"/>
                        <a:ext cx="1190" cy="1190"/>
                      </a:xfrm>
                      <a:prstGeom prst="rect">
                        <a:avLst/>
                      </a:prstGeom>
                    </p:spPr>
                  </p:pic>
                </p:oleObj>
              </mc:Fallback>
            </mc:AlternateContent>
          </a:graphicData>
        </a:graphic>
      </p:graphicFrame>
      <p:sp>
        <p:nvSpPr>
          <p:cNvPr id="9" name="Rectangle 5"/>
          <p:cNvSpPr/>
          <p:nvPr/>
        </p:nvSpPr>
        <p:spPr>
          <a:xfrm>
            <a:off x="3657600" y="3429000"/>
            <a:ext cx="8534400" cy="6858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fontAlgn="base">
              <a:spcBef>
                <a:spcPts val="150"/>
              </a:spcBef>
              <a:spcAft>
                <a:spcPct val="0"/>
              </a:spcAft>
              <a:defRPr/>
            </a:pPr>
            <a:endParaRPr lang="zh-CN" altLang="en-US" sz="105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Text Placeholder 4"/>
          <p:cNvSpPr>
            <a:spLocks noGrp="1"/>
          </p:cNvSpPr>
          <p:nvPr>
            <p:ph type="body" sz="quarter" idx="11"/>
          </p:nvPr>
        </p:nvSpPr>
        <p:spPr>
          <a:xfrm>
            <a:off x="3962400" y="1981200"/>
            <a:ext cx="6248400" cy="1955792"/>
          </a:xfrm>
          <a:prstGeom prst="rect">
            <a:avLst/>
          </a:prstGeom>
        </p:spPr>
        <p:txBody>
          <a:bodyPr/>
          <a:lstStyle/>
          <a:p>
            <a:pPr>
              <a:lnSpc>
                <a:spcPct val="150000"/>
              </a:lnSpc>
              <a:spcBef>
                <a:spcPts val="1350"/>
              </a:spcBef>
              <a:buClr>
                <a:schemeClr val="bg2">
                  <a:lumMod val="50000"/>
                </a:schemeClr>
              </a:buClr>
            </a:pPr>
            <a:r>
              <a:rPr lang="zh-CN" altLang="en-US"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dirty="0">
                <a:solidFill>
                  <a:srgbClr val="ABABAB"/>
                </a:solidFill>
                <a:latin typeface="微软雅黑" panose="020B0503020204020204" pitchFamily="34" charset="-122"/>
                <a:ea typeface="微软雅黑" panose="020B0503020204020204" pitchFamily="34" charset="-122"/>
                <a:sym typeface="微软雅黑" panose="020B0503020204020204" pitchFamily="34" charset="-122"/>
              </a:rPr>
              <a:t>项目背景和目标</a:t>
            </a:r>
            <a:endParaRPr lang="en-US" altLang="zh-CN" sz="2400" dirty="0">
              <a:solidFill>
                <a:srgbClr val="ABABAB"/>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b="1"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dirty="0">
                <a:solidFill>
                  <a:srgbClr val="ABABAB"/>
                </a:solidFill>
                <a:latin typeface="微软雅黑" panose="020B0503020204020204" pitchFamily="34" charset="-122"/>
                <a:ea typeface="微软雅黑" panose="020B0503020204020204" pitchFamily="34" charset="-122"/>
                <a:sym typeface="微软雅黑" panose="020B0503020204020204" pitchFamily="34" charset="-122"/>
              </a:rPr>
              <a:t>协作单位认证框架及流程</a:t>
            </a:r>
            <a:endParaRPr lang="en-US" altLang="zh-CN" sz="2400" dirty="0">
              <a:solidFill>
                <a:srgbClr val="ABABAB"/>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sym typeface="微软雅黑" panose="020B0503020204020204" pitchFamily="34" charset="-122"/>
              </a:rPr>
              <a:t>协作单位认证评分标准</a:t>
            </a:r>
            <a:endParaRPr lang="en-US" altLang="zh-CN"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896748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2B2BCC-38CF-49C5-9F36-5FF0A3284A93}"/>
              </a:ext>
            </a:extLst>
          </p:cNvPr>
          <p:cNvGraphicFramePr>
            <a:graphicFrameLocks noChangeAspect="1"/>
          </p:cNvGraphicFramePr>
          <p:nvPr>
            <p:custDataLst>
              <p:tags r:id="rId1"/>
            </p:custDataLst>
            <p:extLst>
              <p:ext uri="{D42A27DB-BD31-4B8C-83A1-F6EECF244321}">
                <p14:modId xmlns:p14="http://schemas.microsoft.com/office/powerpoint/2010/main" val="13196183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0" imgH="469" progId="TCLayout.ActiveDocument.1">
                  <p:embed/>
                </p:oleObj>
              </mc:Choice>
              <mc:Fallback>
                <p:oleObj name="think-cell 幻灯片" r:id="rId5" imgW="470" imgH="469" progId="TCLayout.ActiveDocument.1">
                  <p:embed/>
                  <p:pic>
                    <p:nvPicPr>
                      <p:cNvPr id="4" name="Object 3" hidden="1">
                        <a:extLst>
                          <a:ext uri="{FF2B5EF4-FFF2-40B4-BE49-F238E27FC236}">
                            <a16:creationId xmlns:a16="http://schemas.microsoft.com/office/drawing/2014/main" id="{662B2BCC-38CF-49C5-9F36-5FF0A3284A9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2230712-AE74-4C59-A931-E7A650904E6B}"/>
              </a:ext>
            </a:extLst>
          </p:cNvPr>
          <p:cNvSpPr txBox="1">
            <a:spLocks/>
          </p:cNvSpPr>
          <p:nvPr/>
        </p:nvSpPr>
        <p:spPr>
          <a:xfrm>
            <a:off x="653806" y="810697"/>
            <a:ext cx="7144384"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协作单位</a:t>
            </a:r>
            <a:r>
              <a:rPr kumimoji="0" lang="zh-CN" altLang="en-US" sz="2400" b="1" i="0" u="none" strike="noStrike" kern="120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建设评分标准（</a:t>
            </a:r>
            <a:r>
              <a:rPr kumimoji="0" lang="en-US" altLang="zh-CN" sz="2400" b="1" i="0" u="none" strike="noStrike" kern="120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60</a:t>
            </a:r>
            <a:r>
              <a:rPr kumimoji="0" lang="zh-CN" altLang="en-US" sz="2400" b="1" i="0" u="none" strike="noStrike" kern="120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分）</a:t>
            </a:r>
            <a:endPar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7" name="Table 10">
            <a:extLst>
              <a:ext uri="{FF2B5EF4-FFF2-40B4-BE49-F238E27FC236}">
                <a16:creationId xmlns:a16="http://schemas.microsoft.com/office/drawing/2014/main" id="{952630CA-7251-4DD4-AD45-B867B862F39E}"/>
              </a:ext>
            </a:extLst>
          </p:cNvPr>
          <p:cNvGraphicFramePr>
            <a:graphicFrameLocks noGrp="1"/>
          </p:cNvGraphicFramePr>
          <p:nvPr>
            <p:custDataLst>
              <p:tags r:id="rId2"/>
            </p:custDataLst>
            <p:extLst>
              <p:ext uri="{D42A27DB-BD31-4B8C-83A1-F6EECF244321}">
                <p14:modId xmlns:p14="http://schemas.microsoft.com/office/powerpoint/2010/main" val="312453054"/>
              </p:ext>
            </p:extLst>
          </p:nvPr>
        </p:nvGraphicFramePr>
        <p:xfrm>
          <a:off x="228600" y="1371600"/>
          <a:ext cx="11506200" cy="5105401"/>
        </p:xfrm>
        <a:graphic>
          <a:graphicData uri="http://schemas.openxmlformats.org/drawingml/2006/table">
            <a:tbl>
              <a:tblPr firstRow="1" bandRow="1">
                <a:tableStyleId>{21E4AEA4-8DFA-4A89-87EB-49C32662AFE0}</a:tableStyleId>
              </a:tblPr>
              <a:tblGrid>
                <a:gridCol w="1380744">
                  <a:extLst>
                    <a:ext uri="{9D8B030D-6E8A-4147-A177-3AD203B41FA5}">
                      <a16:colId xmlns:a16="http://schemas.microsoft.com/office/drawing/2014/main" val="20000"/>
                    </a:ext>
                  </a:extLst>
                </a:gridCol>
                <a:gridCol w="2934082">
                  <a:extLst>
                    <a:ext uri="{9D8B030D-6E8A-4147-A177-3AD203B41FA5}">
                      <a16:colId xmlns:a16="http://schemas.microsoft.com/office/drawing/2014/main" val="20001"/>
                    </a:ext>
                  </a:extLst>
                </a:gridCol>
                <a:gridCol w="2362880">
                  <a:extLst>
                    <a:ext uri="{9D8B030D-6E8A-4147-A177-3AD203B41FA5}">
                      <a16:colId xmlns:a16="http://schemas.microsoft.com/office/drawing/2014/main" val="1087633769"/>
                    </a:ext>
                  </a:extLst>
                </a:gridCol>
                <a:gridCol w="4828494">
                  <a:extLst>
                    <a:ext uri="{9D8B030D-6E8A-4147-A177-3AD203B41FA5}">
                      <a16:colId xmlns:a16="http://schemas.microsoft.com/office/drawing/2014/main" val="20002"/>
                    </a:ext>
                  </a:extLst>
                </a:gridCol>
              </a:tblGrid>
              <a:tr h="243852">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大项</a:t>
                      </a:r>
                    </a:p>
                  </a:txBody>
                  <a:tcPr marL="9525" marR="9525" marT="9525" marB="0" anchor="ctr">
                    <a:lnL w="28575" cap="flat" cmpd="sng" algn="ctr">
                      <a:solidFill>
                        <a:srgbClr val="A31620"/>
                      </a:solidFill>
                      <a:prstDash val="solid"/>
                      <a:round/>
                      <a:headEnd type="none" w="med" len="med"/>
                      <a:tailEnd type="none" w="med" len="med"/>
                    </a:lnL>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小项</a:t>
                      </a:r>
                    </a:p>
                  </a:txBody>
                  <a:tcPr marL="9525" marR="9525" marT="9525" marB="0" anchor="ct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评分标准</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marL="0" algn="ctr" defTabSz="647700" rtl="0" eaLnBrk="1" fontAlgn="ctr" latinLnBrk="0" hangingPunct="1"/>
                      <a:r>
                        <a:rPr lang="zh-CN" altLang="en-US" sz="1200" b="1" u="none" strike="noStrike" kern="1200" dirty="0">
                          <a:solidFill>
                            <a:schemeClr val="lt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评分细则</a:t>
                      </a:r>
                    </a:p>
                  </a:txBody>
                  <a:tcPr marL="9525" marR="9525" marT="9525" marB="0" anchor="ct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extLst>
                  <a:ext uri="{0D108BD9-81ED-4DB2-BD59-A6C34878D82A}">
                    <a16:rowId xmlns:a16="http://schemas.microsoft.com/office/drawing/2014/main" val="10000"/>
                  </a:ext>
                </a:extLst>
              </a:tr>
              <a:tr h="507983">
                <a:tc rowSpan="3">
                  <a:txBody>
                    <a:bodyPr/>
                    <a:lstStyle/>
                    <a:p>
                      <a:pPr algn="ctr" rtl="0" fontAlgn="ct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规范化诊疗管理团队</a:t>
                      </a:r>
                      <a:endPar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7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皮肤科有科室主任及以上行政职务的项目牵头人</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人员资料，</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所有通过审核的医院直接得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507983">
                <a:tc vMerge="1">
                  <a:txBody>
                    <a:bodyPr/>
                    <a:lstStyle/>
                    <a:p>
                      <a:endParaRPr lang="zh-CN"/>
                    </a:p>
                  </a:txBody>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专门数据处理员</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人员资料，</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0" i="0" u="none" strike="sng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根据医院是否有有效账号判定，有效账号定义为至少有一例患者录入的账号</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500841">
                <a:tc vMerge="1">
                  <a:txBody>
                    <a:bodyPr/>
                    <a:lstStyle/>
                    <a:p>
                      <a:endParaRPr lang="zh-CN"/>
                    </a:p>
                  </a:txBody>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专门联络员</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人员资料，</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所有通过审核的医院直接得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1024894">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医院对</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规范化诊疗中心的支持（</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医院领导理解</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规范化诊疗中心建设的意义，为中心建设和发展提供人力、物力、协调等行政支持，并签订医院承诺函以及伦理联盟协议。</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资料，</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所有通过审核的医院直接得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906602">
                <a:tc rowSpan="3">
                  <a:txBody>
                    <a:bodyPr/>
                    <a:lstStyle/>
                    <a:p>
                      <a:pPr algn="ctr" rtl="0" fontAlgn="ct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专业人员和门诊</a:t>
                      </a:r>
                      <a:endPar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4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皮炎</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专业方向医生</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资料，每位医生</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封顶</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收集</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工判定，通过评分系统线上收集，各单位上传证明材料（资料应为医院网站截图或院内宣传栏照片以说明医生的专业方向中包含皮炎</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特应性皮炎）</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794113">
                <a:tc vMerge="1">
                  <a:txBody>
                    <a:bodyPr/>
                    <a:lstStyle/>
                    <a:p>
                      <a:endParaRPr lang="zh-CN"/>
                    </a:p>
                  </a:txBody>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每周有皮炎</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为专业方向的皮肤科医生出诊</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现场抽查、上传证明材料，每半天</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封顶</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收集</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工判定，通过评分系统线上收集，各单位上传证明材料（资料应为医院网站或挂号系统截图或院内宣传栏照片以说明相关医生的出诊情况）</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6"/>
                  </a:ext>
                </a:extLst>
              </a:tr>
              <a:tr h="619133">
                <a:tc vMerge="1">
                  <a:txBody>
                    <a:bodyPr/>
                    <a:lstStyle/>
                    <a:p>
                      <a:endParaRPr lang="zh-CN"/>
                    </a:p>
                  </a:txBody>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医院药房能够正常开具生物制剂，能够顺利开展</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生物制剂治疗</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医院药房没有生物制剂</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有生物制剂</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solidFill>
                      <a:schemeClr val="bg1"/>
                    </a:solidFill>
                  </a:tcPr>
                </a:tc>
                <a:tc>
                  <a:txBody>
                    <a:bodyPr/>
                    <a:lstStyle/>
                    <a:p>
                      <a:pPr marL="91440" algn="l" rtl="0" fontAlgn="t"/>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根据厂商提供数据判定</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3398178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FF6A7E-BCEB-40B8-8973-526731498C84}"/>
              </a:ext>
            </a:extLst>
          </p:cNvPr>
          <p:cNvGraphicFramePr>
            <a:graphicFrameLocks noChangeAspect="1"/>
          </p:cNvGraphicFramePr>
          <p:nvPr>
            <p:custDataLst>
              <p:tags r:id="rId1"/>
            </p:custDataLst>
            <p:extLst>
              <p:ext uri="{D42A27DB-BD31-4B8C-83A1-F6EECF244321}">
                <p14:modId xmlns:p14="http://schemas.microsoft.com/office/powerpoint/2010/main" val="32891411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0" imgH="469" progId="TCLayout.ActiveDocument.1">
                  <p:embed/>
                </p:oleObj>
              </mc:Choice>
              <mc:Fallback>
                <p:oleObj name="think-cell 幻灯片" r:id="rId5" imgW="470" imgH="469" progId="TCLayout.ActiveDocument.1">
                  <p:embed/>
                  <p:pic>
                    <p:nvPicPr>
                      <p:cNvPr id="4" name="Object 3" hidden="1">
                        <a:extLst>
                          <a:ext uri="{FF2B5EF4-FFF2-40B4-BE49-F238E27FC236}">
                            <a16:creationId xmlns:a16="http://schemas.microsoft.com/office/drawing/2014/main" id="{0BFF6A7E-BCEB-40B8-8973-526731498C8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EB0E5E-D3E6-4CDD-B3F8-6976E87D8CF9}"/>
              </a:ext>
            </a:extLst>
          </p:cNvPr>
          <p:cNvSpPr>
            <a:spLocks noGrp="1"/>
          </p:cNvSpPr>
          <p:nvPr>
            <p:ph type="title"/>
          </p:nvPr>
        </p:nvSpPr>
        <p:spPr>
          <a:xfrm>
            <a:off x="838200" y="762000"/>
            <a:ext cx="7144384" cy="369332"/>
          </a:xfrm>
        </p:spPr>
        <p:txBody>
          <a:bodyPr vert="horz"/>
          <a:lstStyle/>
          <a:p>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培训与数据库管理评分标准 （</a:t>
            </a:r>
            <a:r>
              <a:rPr lang="en-US" altLang="zh-CN" sz="2400" dirty="0">
                <a:latin typeface="微软雅黑" panose="020B0503020204020204" pitchFamily="34" charset="-122"/>
                <a:ea typeface="微软雅黑" panose="020B0503020204020204" pitchFamily="34" charset="-122"/>
                <a:sym typeface="微软雅黑" panose="020B0503020204020204" pitchFamily="34" charset="-122"/>
              </a:rPr>
              <a:t>260</a:t>
            </a:r>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分）</a:t>
            </a:r>
          </a:p>
        </p:txBody>
      </p:sp>
      <p:graphicFrame>
        <p:nvGraphicFramePr>
          <p:cNvPr id="6" name="Table 6">
            <a:extLst>
              <a:ext uri="{FF2B5EF4-FFF2-40B4-BE49-F238E27FC236}">
                <a16:creationId xmlns:a16="http://schemas.microsoft.com/office/drawing/2014/main" id="{297B7288-5CD5-41D0-BAA3-0AD9E4AE3120}"/>
              </a:ext>
            </a:extLst>
          </p:cNvPr>
          <p:cNvGraphicFramePr>
            <a:graphicFrameLocks noGrp="1"/>
          </p:cNvGraphicFramePr>
          <p:nvPr>
            <p:custDataLst>
              <p:tags r:id="rId2"/>
            </p:custDataLst>
            <p:extLst>
              <p:ext uri="{D42A27DB-BD31-4B8C-83A1-F6EECF244321}">
                <p14:modId xmlns:p14="http://schemas.microsoft.com/office/powerpoint/2010/main" val="148821197"/>
              </p:ext>
            </p:extLst>
          </p:nvPr>
        </p:nvGraphicFramePr>
        <p:xfrm>
          <a:off x="120712" y="1600200"/>
          <a:ext cx="11213210" cy="5097055"/>
        </p:xfrm>
        <a:graphic>
          <a:graphicData uri="http://schemas.openxmlformats.org/drawingml/2006/table">
            <a:tbl>
              <a:tblPr firstRow="1" bandRow="1">
                <a:tableStyleId>{21E4AEA4-8DFA-4A89-87EB-49C32662AFE0}</a:tableStyleId>
              </a:tblPr>
              <a:tblGrid>
                <a:gridCol w="1555688">
                  <a:extLst>
                    <a:ext uri="{9D8B030D-6E8A-4147-A177-3AD203B41FA5}">
                      <a16:colId xmlns:a16="http://schemas.microsoft.com/office/drawing/2014/main" val="20000"/>
                    </a:ext>
                  </a:extLst>
                </a:gridCol>
                <a:gridCol w="2058828">
                  <a:extLst>
                    <a:ext uri="{9D8B030D-6E8A-4147-A177-3AD203B41FA5}">
                      <a16:colId xmlns:a16="http://schemas.microsoft.com/office/drawing/2014/main" val="20001"/>
                    </a:ext>
                  </a:extLst>
                </a:gridCol>
                <a:gridCol w="2977866">
                  <a:extLst>
                    <a:ext uri="{9D8B030D-6E8A-4147-A177-3AD203B41FA5}">
                      <a16:colId xmlns:a16="http://schemas.microsoft.com/office/drawing/2014/main" val="3857951848"/>
                    </a:ext>
                  </a:extLst>
                </a:gridCol>
                <a:gridCol w="4620828">
                  <a:extLst>
                    <a:ext uri="{9D8B030D-6E8A-4147-A177-3AD203B41FA5}">
                      <a16:colId xmlns:a16="http://schemas.microsoft.com/office/drawing/2014/main" val="20002"/>
                    </a:ext>
                  </a:extLst>
                </a:gridCol>
              </a:tblGrid>
              <a:tr h="310690">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大项</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olid"/>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小项</a:t>
                      </a:r>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olid"/>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评分标准</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olid"/>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tc>
                  <a:txBody>
                    <a:bodyPr/>
                    <a:lstStyle/>
                    <a:p>
                      <a:pPr marL="0" algn="ctr" defTabSz="647700" rtl="0" eaLnBrk="1" fontAlgn="ctr" latinLnBrk="0" hangingPunct="1"/>
                      <a:r>
                        <a:rPr lang="zh-CN" altLang="en-US" sz="1200" b="1" u="none" strike="noStrike" kern="1200" dirty="0">
                          <a:solidFill>
                            <a:schemeClr val="lt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评分细则</a:t>
                      </a:r>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olid"/>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olid"/>
                      <a:round/>
                      <a:headEnd type="none" w="med" len="med"/>
                      <a:tailEnd type="none" w="med" len="med"/>
                    </a:lnB>
                    <a:solidFill>
                      <a:srgbClr val="A31620"/>
                    </a:solidFill>
                  </a:tcPr>
                </a:tc>
                <a:extLst>
                  <a:ext uri="{0D108BD9-81ED-4DB2-BD59-A6C34878D82A}">
                    <a16:rowId xmlns:a16="http://schemas.microsoft.com/office/drawing/2014/main" val="10000"/>
                  </a:ext>
                </a:extLst>
              </a:tr>
              <a:tr h="602880">
                <a:tc rowSpan="3">
                  <a:txBody>
                    <a:bodyPr/>
                    <a:lstStyle/>
                    <a:p>
                      <a:pPr algn="ctr"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交流及培训</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组织医院内或院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皮肤病相关学习交流会</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上传资料，</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收集</a:t>
                      </a:r>
                      <a:r>
                        <a:rPr lang="en-US" altLang="zh-CN"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工判定，通过评分系统线上收集，各单位上传证明材料</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家开启动会的单位由会务公司提供名单，其他单位提供会议日程及照片，内容需包含“</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字样）</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1"/>
                  </a:ext>
                </a:extLst>
              </a:tr>
              <a:tr h="428063">
                <a:tc vMerge="1">
                  <a:txBody>
                    <a:bodyPr/>
                    <a:lstStyle/>
                    <a:p>
                      <a:endParaRPr lang="zh-CN"/>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医院代表参与国家中心发起的会议活动</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次，封顶</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工判定，会务公司提供启动会、北大高峰总结大会参会名单</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2"/>
                  </a:ext>
                </a:extLst>
              </a:tr>
              <a:tr h="477871">
                <a:tc vMerge="1">
                  <a:txBody>
                    <a:bodyPr/>
                    <a:lstStyle/>
                    <a:p>
                      <a:endParaRPr lang="zh-CN"/>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参与</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相关皮肤病大数据平台操作指南培训</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工判定，会务公司提供线上培训会的参会名单</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3"/>
                  </a:ext>
                </a:extLst>
              </a:tr>
              <a:tr h="800410">
                <a:tc rowSpan="2">
                  <a:txBody>
                    <a:bodyPr/>
                    <a:lstStyle/>
                    <a:p>
                      <a:pPr algn="ctr"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数据库管理</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制定了数据库的管理规范、使用细则及监督管理制度，并有数据的审核制度，确保数据库的真实、客观、准确</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现场抽查，</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tabLst/>
                        <a:defRPr/>
                      </a:pP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所有通过审核的医院直接得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4"/>
                  </a:ext>
                </a:extLst>
              </a:tr>
              <a:tr h="478365">
                <a:tc vMerge="1">
                  <a:txBody>
                    <a:bodyPr/>
                    <a:lstStyle/>
                    <a:p>
                      <a:endParaRPr lang="zh-CN"/>
                    </a:p>
                  </a:txBody>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患者的诊断、用药情况、检测、随访事件等可以溯源</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现场抽查，</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marR="0" lvl="0" indent="0" algn="l" defTabSz="647700" rtl="0" eaLnBrk="1" fontAlgn="t" latinLnBrk="0" hangingPunct="1">
                        <a:lnSpc>
                          <a:spcPct val="100000"/>
                        </a:lnSpc>
                        <a:spcBef>
                          <a:spcPts val="0"/>
                        </a:spcBef>
                        <a:spcAft>
                          <a:spcPts val="0"/>
                        </a:spcAft>
                        <a:buClrTx/>
                        <a:buSzTx/>
                        <a:buFontTx/>
                        <a:buNone/>
                        <a:tabLst/>
                        <a:defRPr/>
                      </a:pPr>
                      <a:r>
                        <a:rPr lang="zh-CN" altLang="en-US" sz="1200" u="none" strike="noStrike" dirty="0">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所有通过审核的医院直接得分，后期巡查组检查时会抽查</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患者原始病例（纸质或其他形式）的留存情况</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5"/>
                  </a:ext>
                </a:extLst>
              </a:tr>
              <a:tr h="759959">
                <a:tc rowSpan="3">
                  <a:txBody>
                    <a:bodyPr/>
                    <a:lstStyle/>
                    <a:p>
                      <a:pPr algn="ctr"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初诊病例录入</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rtl="0" fontAlgn="ct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录入小于月均</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例不能授牌</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endPar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皮炎</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初诊病例录入数量</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总人数：</a:t>
                      </a:r>
                      <a:r>
                        <a:rPr lang="zh-CN" altLang="en-US"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200" b="1"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且 ＜</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各单位每月录入的初诊病例数</a:t>
                      </a:r>
                      <a:endParaRPr lang="zh-CN" altLang="en-US" sz="1200" b="0"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6"/>
                  </a:ext>
                </a:extLst>
              </a:tr>
              <a:tr h="759959">
                <a:tc vMerge="1">
                  <a:txBody>
                    <a:bodyPr/>
                    <a:lstStyle/>
                    <a:p>
                      <a:endParaRPr lang="zh-CN"/>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皮炎</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湿疹有效初诊病例数</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总人数：</a:t>
                      </a:r>
                      <a:r>
                        <a:rPr lang="zh-CN" altLang="en-US"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且 ＜</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有效初诊病例数定义为初诊病例中的必填项目录入比例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的病例数</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7"/>
                  </a:ext>
                </a:extLst>
              </a:tr>
              <a:tr h="478858">
                <a:tc vMerge="1">
                  <a:txBody>
                    <a:bodyPr/>
                    <a:lstStyle/>
                    <a:p>
                      <a:endParaRPr lang="zh-CN"/>
                    </a:p>
                  </a:txBody>
                  <a:tcPr marL="9525" marR="9525" marT="9525" marB="0" anchor="ctr">
                    <a:lnL w="12700"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olid"/>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初诊病例的皮损照片上传完整率</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且</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上传皮损照片的初诊病例数</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所有初诊病例数</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28575" cap="flat" cmpd="sng" algn="ctr">
                      <a:solidFill>
                        <a:srgbClr val="A31620"/>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7" name="矩形 6">
            <a:extLst>
              <a:ext uri="{FF2B5EF4-FFF2-40B4-BE49-F238E27FC236}">
                <a16:creationId xmlns:a16="http://schemas.microsoft.com/office/drawing/2014/main" id="{022DE1AA-C052-4F58-9CBA-F1B5EBF3EA09}"/>
              </a:ext>
            </a:extLst>
          </p:cNvPr>
          <p:cNvSpPr/>
          <p:nvPr/>
        </p:nvSpPr>
        <p:spPr>
          <a:xfrm>
            <a:off x="304800" y="1238808"/>
            <a:ext cx="6553200" cy="276999"/>
          </a:xfrm>
          <a:prstGeom prst="rect">
            <a:avLst/>
          </a:prstGeom>
          <a:solidFill>
            <a:srgbClr val="9B000B"/>
          </a:solidFill>
          <a:ln>
            <a:solidFill>
              <a:srgbClr val="9B000B"/>
            </a:solidFill>
            <a:prstDash val="dash"/>
          </a:ln>
        </p:spPr>
        <p:txBody>
          <a:bodyPr wrap="square">
            <a:spAutoFit/>
          </a:bodyPr>
          <a:lstStyle/>
          <a:p>
            <a:pPr marL="171450" indent="-171450">
              <a:buFont typeface="Wingdings" panose="05000000000000000000" pitchFamily="2" charset="2"/>
              <a:buChar char="Ø"/>
            </a:pP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与数据库录入相关的评价，第二批单位针对</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02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年</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至</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3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数据进行计分</a:t>
            </a:r>
            <a:endParaRPr lang="zh-CN" altLang="en-US" sz="12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136407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D4CC73CF-5544-4310-B208-FBAB608273D1}"/>
              </a:ext>
            </a:extLst>
          </p:cNvPr>
          <p:cNvGraphicFramePr>
            <a:graphicFrameLocks noChangeAspect="1"/>
          </p:cNvGraphicFramePr>
          <p:nvPr>
            <p:custDataLst>
              <p:tags r:id="rId1"/>
            </p:custDataLst>
            <p:extLst>
              <p:ext uri="{D42A27DB-BD31-4B8C-83A1-F6EECF244321}">
                <p14:modId xmlns:p14="http://schemas.microsoft.com/office/powerpoint/2010/main" val="376737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6" name="对象 5" hidden="1">
                        <a:extLst>
                          <a:ext uri="{FF2B5EF4-FFF2-40B4-BE49-F238E27FC236}">
                            <a16:creationId xmlns:a16="http://schemas.microsoft.com/office/drawing/2014/main" id="{D4CC73CF-5544-4310-B208-FBAB608273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3109585F-751A-4C6B-BC3B-7BC736CA5573}"/>
              </a:ext>
            </a:extLst>
          </p:cNvPr>
          <p:cNvSpPr>
            <a:spLocks noGrp="1"/>
          </p:cNvSpPr>
          <p:nvPr>
            <p:ph type="title"/>
          </p:nvPr>
        </p:nvSpPr>
        <p:spPr>
          <a:xfrm>
            <a:off x="838200" y="824329"/>
            <a:ext cx="9525845" cy="369332"/>
          </a:xfrm>
        </p:spPr>
        <p:txBody>
          <a:bodyPr vert="horz"/>
          <a:lstStyle/>
          <a:p>
            <a:pPr algn="l" rtl="0"/>
            <a:r>
              <a:rPr lang="zh-CN" altLang="en-US" sz="2400" kern="1200" dirty="0">
                <a:latin typeface="微软雅黑" panose="020B0503020204020204" pitchFamily="34" charset="-122"/>
                <a:ea typeface="微软雅黑" panose="020B0503020204020204" pitchFamily="34" charset="-122"/>
                <a:sym typeface="微软雅黑" panose="020B0503020204020204" pitchFamily="34" charset="-122"/>
              </a:rPr>
              <a:t>有效初诊病例定义及必填项</a:t>
            </a:r>
          </a:p>
        </p:txBody>
      </p:sp>
      <p:sp>
        <p:nvSpPr>
          <p:cNvPr id="5" name="文本框 4">
            <a:extLst>
              <a:ext uri="{FF2B5EF4-FFF2-40B4-BE49-F238E27FC236}">
                <a16:creationId xmlns:a16="http://schemas.microsoft.com/office/drawing/2014/main" id="{6B60E552-4436-45FA-81E1-5D8879467EDF}"/>
              </a:ext>
            </a:extLst>
          </p:cNvPr>
          <p:cNvSpPr txBox="1"/>
          <p:nvPr/>
        </p:nvSpPr>
        <p:spPr>
          <a:xfrm>
            <a:off x="851452" y="1753850"/>
            <a:ext cx="9677400" cy="2893100"/>
          </a:xfrm>
          <a:prstGeom prst="rect">
            <a:avLst/>
          </a:prstGeom>
          <a:noFill/>
          <a:ln w="28575">
            <a:solidFill>
              <a:srgbClr val="953735"/>
            </a:solidFill>
          </a:ln>
        </p:spPr>
        <p:txBody>
          <a:bodyPr wrap="square">
            <a:spAutoFit/>
          </a:bodyPr>
          <a:lstStyle/>
          <a:p>
            <a:r>
              <a:rPr lang="zh-CN" altLang="en-US" sz="1400" b="1" dirty="0">
                <a:latin typeface="微软雅黑" panose="020B0503020204020204" pitchFamily="34" charset="-122"/>
                <a:ea typeface="微软雅黑" panose="020B0503020204020204" pitchFamily="34" charset="-122"/>
                <a:sym typeface="微软雅黑" panose="020B0503020204020204" pitchFamily="34" charset="-122"/>
              </a:rPr>
              <a:t>有效初诊病例数定义：初诊病例中的必填项目录入比例超过</a:t>
            </a:r>
            <a:r>
              <a:rPr lang="en-US" altLang="zh-CN" sz="1400" b="1" dirty="0">
                <a:latin typeface="微软雅黑" panose="020B0503020204020204" pitchFamily="34" charset="-122"/>
                <a:ea typeface="微软雅黑" panose="020B0503020204020204" pitchFamily="34" charset="-122"/>
                <a:sym typeface="微软雅黑" panose="020B0503020204020204" pitchFamily="34" charset="-122"/>
              </a:rPr>
              <a:t>80%</a:t>
            </a:r>
            <a:r>
              <a:rPr lang="zh-CN" altLang="en-US" sz="1400" b="1" dirty="0">
                <a:latin typeface="微软雅黑" panose="020B0503020204020204" pitchFamily="34" charset="-122"/>
                <a:ea typeface="微软雅黑" panose="020B0503020204020204" pitchFamily="34" charset="-122"/>
                <a:sym typeface="微软雅黑" panose="020B0503020204020204" pitchFamily="34" charset="-122"/>
              </a:rPr>
              <a:t>的病例数；</a:t>
            </a:r>
            <a:endParaRPr lang="en-US" altLang="zh-CN" sz="1400" b="1" dirty="0">
              <a:latin typeface="微软雅黑" panose="020B0503020204020204" pitchFamily="34" charset="-122"/>
              <a:ea typeface="微软雅黑" panose="020B0503020204020204" pitchFamily="34" charset="-122"/>
              <a:sym typeface="微软雅黑" panose="020B0503020204020204" pitchFamily="34" charset="-122"/>
            </a:endParaRPr>
          </a:p>
          <a:p>
            <a:pPr algn="l" rtl="0"/>
            <a:endParaRPr lang="en-US" altLang="zh-CN" sz="1400" b="1" kern="1200" dirty="0">
              <a:latin typeface="微软雅黑" panose="020B0503020204020204" pitchFamily="34" charset="-122"/>
              <a:ea typeface="微软雅黑" panose="020B0503020204020204" pitchFamily="34" charset="-122"/>
              <a:sym typeface="微软雅黑" panose="020B0503020204020204" pitchFamily="34" charset="-122"/>
            </a:endParaRPr>
          </a:p>
          <a:p>
            <a:pPr algn="l" rtl="0"/>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系统中量表：</a:t>
            </a:r>
            <a:endPar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发病及临床表现（既往发病情况）</a:t>
            </a:r>
            <a:endPar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研究者整体评分法（</a:t>
            </a:r>
            <a:r>
              <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IGA</a:t>
            </a:r>
            <a:r>
              <a:rPr lang="zh-CN" altLang="en-US"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ADCT</a:t>
            </a:r>
            <a:r>
              <a:rPr lang="zh-CN" altLang="en-US"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量表</a:t>
            </a:r>
            <a:endPar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湿疹面积及严重程度指数（</a:t>
            </a:r>
            <a:r>
              <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EASI</a:t>
            </a:r>
            <a:r>
              <a:rPr lang="zh-CN" altLang="en-US"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kern="12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结节性痒疹研究者总体评分（</a:t>
            </a:r>
            <a:r>
              <a:rPr lang="en-US" altLang="zh-CN"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IGA-PN</a:t>
            </a:r>
            <a:r>
              <a:rPr lang="zh-CN" altLang="en-US"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疾病活动评估</a:t>
            </a:r>
            <a:endParaRPr lang="en-US" altLang="zh-CN"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结节性痒疹研究者总体评分（</a:t>
            </a:r>
            <a:r>
              <a:rPr lang="en-US" altLang="zh-CN"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IGA-PN</a:t>
            </a:r>
            <a:r>
              <a:rPr lang="zh-CN" altLang="en-US"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疾病分期评估</a:t>
            </a:r>
            <a:endParaRPr lang="en-US" altLang="zh-CN" sz="1400" kern="12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瘙痒数字评价量表</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sym typeface="微软雅黑" panose="020B0503020204020204" pitchFamily="34" charset="-122"/>
              </a:rPr>
              <a:t>NRS</a:t>
            </a:r>
            <a:r>
              <a:rPr lang="zh-CN" altLang="en-US" sz="1400" dirty="0">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皮肤生活质量指数问卷（</a:t>
            </a:r>
            <a:r>
              <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rPr>
              <a:t>DLQI</a:t>
            </a: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医院焦虑和抑郁量表（</a:t>
            </a:r>
            <a:r>
              <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rPr>
              <a:t>HADS</a:t>
            </a:r>
            <a:r>
              <a:rPr lang="zh-CN" altLang="en-US" sz="1400" kern="1200" dirty="0">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kern="1200" dirty="0">
              <a:latin typeface="微软雅黑" panose="020B0503020204020204" pitchFamily="34" charset="-122"/>
              <a:ea typeface="微软雅黑" panose="020B0503020204020204" pitchFamily="34" charset="-122"/>
              <a:sym typeface="微软雅黑" panose="020B0503020204020204" pitchFamily="34" charset="-122"/>
            </a:endParaRPr>
          </a:p>
          <a:p>
            <a:pPr marL="342900" indent="-342900" algn="l" rtl="0">
              <a:buFont typeface="+mj-lt"/>
              <a:buAutoNum type="arabicPeriod"/>
            </a:pPr>
            <a:endParaRPr lang="en-US" altLang="zh-CN" sz="12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 name="文本框 2">
            <a:extLst>
              <a:ext uri="{FF2B5EF4-FFF2-40B4-BE49-F238E27FC236}">
                <a16:creationId xmlns:a16="http://schemas.microsoft.com/office/drawing/2014/main" id="{C769B81E-5A4A-402C-904C-2C0246892D3D}"/>
              </a:ext>
            </a:extLst>
          </p:cNvPr>
          <p:cNvSpPr txBox="1"/>
          <p:nvPr/>
        </p:nvSpPr>
        <p:spPr>
          <a:xfrm>
            <a:off x="7366749" y="3886200"/>
            <a:ext cx="2967479" cy="523220"/>
          </a:xfrm>
          <a:prstGeom prst="rect">
            <a:avLst/>
          </a:prstGeom>
          <a:noFill/>
          <a:ln>
            <a:noFill/>
            <a:prstDash val="sysDash"/>
          </a:ln>
        </p:spPr>
        <p:txBody>
          <a:bodyPr wrap="none" rtlCol="0">
            <a:spAutoFit/>
          </a:bodyPr>
          <a:lstStyle/>
          <a:p>
            <a:pPr marL="285750" indent="-285750">
              <a:buFont typeface="Arial" panose="020B0604020202020204" pitchFamily="34" charset="0"/>
              <a:buChar char="•"/>
            </a:pPr>
            <a:r>
              <a:rPr lang="zh-CN" altLang="en-US" sz="14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蓝色为</a:t>
            </a:r>
            <a:r>
              <a:rPr lang="en-US" altLang="zh-CN" sz="14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AD/</a:t>
            </a:r>
            <a:r>
              <a:rPr lang="zh-CN" altLang="en-US" sz="14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rPr>
              <a:t>湿疹特异的评估量表</a:t>
            </a:r>
            <a:endParaRPr lang="en-US" altLang="zh-CN" sz="1400" dirty="0">
              <a:solidFill>
                <a:srgbClr val="00B0F0"/>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buFont typeface="Arial" panose="020B0604020202020204" pitchFamily="34" charset="0"/>
              <a:buChar char="•"/>
            </a:pPr>
            <a:r>
              <a:rPr lang="zh-CN" altLang="en-US" sz="1400"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红色痒疹特异的评估量表</a:t>
            </a:r>
          </a:p>
        </p:txBody>
      </p:sp>
    </p:spTree>
    <p:extLst>
      <p:ext uri="{BB962C8B-B14F-4D97-AF65-F5344CB8AC3E}">
        <p14:creationId xmlns:p14="http://schemas.microsoft.com/office/powerpoint/2010/main" val="755259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589A0B-FB3A-46AE-B40D-76C7719C13FF}"/>
              </a:ext>
            </a:extLst>
          </p:cNvPr>
          <p:cNvGraphicFramePr>
            <a:graphicFrameLocks noChangeAspect="1"/>
          </p:cNvGraphicFramePr>
          <p:nvPr>
            <p:custDataLst>
              <p:tags r:id="rId1"/>
            </p:custDataLst>
            <p:extLst>
              <p:ext uri="{D42A27DB-BD31-4B8C-83A1-F6EECF244321}">
                <p14:modId xmlns:p14="http://schemas.microsoft.com/office/powerpoint/2010/main" val="59755943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0" imgH="469" progId="TCLayout.ActiveDocument.1">
                  <p:embed/>
                </p:oleObj>
              </mc:Choice>
              <mc:Fallback>
                <p:oleObj name="think-cell 幻灯片" r:id="rId5" imgW="470" imgH="469" progId="TCLayout.ActiveDocument.1">
                  <p:embed/>
                  <p:pic>
                    <p:nvPicPr>
                      <p:cNvPr id="4" name="Object 3" hidden="1">
                        <a:extLst>
                          <a:ext uri="{FF2B5EF4-FFF2-40B4-BE49-F238E27FC236}">
                            <a16:creationId xmlns:a16="http://schemas.microsoft.com/office/drawing/2014/main" id="{9E589A0B-FB3A-46AE-B40D-76C7719C13F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E6C1882-FC23-4B29-87F0-31B0F3FA1FBE}"/>
              </a:ext>
            </a:extLst>
          </p:cNvPr>
          <p:cNvSpPr txBox="1">
            <a:spLocks/>
          </p:cNvSpPr>
          <p:nvPr/>
        </p:nvSpPr>
        <p:spPr>
          <a:xfrm>
            <a:off x="838200" y="762000"/>
            <a:ext cx="8229600"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诊疗能力评分标准（</a:t>
            </a:r>
            <a:r>
              <a:rPr lang="en-US" altLang="zh-CN" sz="2400" kern="0" dirty="0">
                <a:latin typeface="微软雅黑" panose="020B0503020204020204" pitchFamily="34" charset="-122"/>
                <a:ea typeface="微软雅黑" panose="020B0503020204020204" pitchFamily="34" charset="-122"/>
                <a:sym typeface="微软雅黑" panose="020B0503020204020204" pitchFamily="34" charset="-122"/>
              </a:rPr>
              <a:t>260</a:t>
            </a: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分）</a:t>
            </a:r>
            <a:r>
              <a:rPr kumimoji="0" lang="en-US" altLang="zh-CN"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a:t>
            </a: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一页</a:t>
            </a:r>
          </a:p>
        </p:txBody>
      </p:sp>
      <p:graphicFrame>
        <p:nvGraphicFramePr>
          <p:cNvPr id="6" name="Table 6">
            <a:extLst>
              <a:ext uri="{FF2B5EF4-FFF2-40B4-BE49-F238E27FC236}">
                <a16:creationId xmlns:a16="http://schemas.microsoft.com/office/drawing/2014/main" id="{69C5D58C-ABED-4372-BA6E-928F446E44E5}"/>
              </a:ext>
            </a:extLst>
          </p:cNvPr>
          <p:cNvGraphicFramePr>
            <a:graphicFrameLocks noGrp="1"/>
          </p:cNvGraphicFramePr>
          <p:nvPr>
            <p:custDataLst>
              <p:tags r:id="rId2"/>
            </p:custDataLst>
            <p:extLst>
              <p:ext uri="{D42A27DB-BD31-4B8C-83A1-F6EECF244321}">
                <p14:modId xmlns:p14="http://schemas.microsoft.com/office/powerpoint/2010/main" val="2723647540"/>
              </p:ext>
            </p:extLst>
          </p:nvPr>
        </p:nvGraphicFramePr>
        <p:xfrm>
          <a:off x="449738" y="1828800"/>
          <a:ext cx="11292524" cy="2791373"/>
        </p:xfrm>
        <a:graphic>
          <a:graphicData uri="http://schemas.openxmlformats.org/drawingml/2006/table">
            <a:tbl>
              <a:tblPr firstRow="1" bandRow="1">
                <a:tableStyleId>{21E4AEA4-8DFA-4A89-87EB-49C32662AFE0}</a:tableStyleId>
              </a:tblPr>
              <a:tblGrid>
                <a:gridCol w="1190531">
                  <a:extLst>
                    <a:ext uri="{9D8B030D-6E8A-4147-A177-3AD203B41FA5}">
                      <a16:colId xmlns:a16="http://schemas.microsoft.com/office/drawing/2014/main" val="20000"/>
                    </a:ext>
                  </a:extLst>
                </a:gridCol>
                <a:gridCol w="2552082">
                  <a:extLst>
                    <a:ext uri="{9D8B030D-6E8A-4147-A177-3AD203B41FA5}">
                      <a16:colId xmlns:a16="http://schemas.microsoft.com/office/drawing/2014/main" val="20001"/>
                    </a:ext>
                  </a:extLst>
                </a:gridCol>
                <a:gridCol w="3721787">
                  <a:extLst>
                    <a:ext uri="{9D8B030D-6E8A-4147-A177-3AD203B41FA5}">
                      <a16:colId xmlns:a16="http://schemas.microsoft.com/office/drawing/2014/main" val="20002"/>
                    </a:ext>
                  </a:extLst>
                </a:gridCol>
                <a:gridCol w="3828124">
                  <a:extLst>
                    <a:ext uri="{9D8B030D-6E8A-4147-A177-3AD203B41FA5}">
                      <a16:colId xmlns:a16="http://schemas.microsoft.com/office/drawing/2014/main" val="4068799819"/>
                    </a:ext>
                  </a:extLst>
                </a:gridCol>
              </a:tblGrid>
              <a:tr h="352813">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大项</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rgbClr val="A31620"/>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rPr>
                        <a:t>小项</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sym typeface="微软雅黑" panose="020B0503020204020204" pitchFamily="34" charset="-122"/>
                        </a:rPr>
                        <a:t>评分标准</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rgbClr val="A31620"/>
                    </a:solidFill>
                  </a:tcPr>
                </a:tc>
                <a:tc>
                  <a:txBody>
                    <a:bodyPr/>
                    <a:lstStyle/>
                    <a:p>
                      <a:pPr marL="0" algn="ctr" defTabSz="647700" rtl="0" eaLnBrk="1" fontAlgn="ctr" latinLnBrk="0" hangingPunct="1"/>
                      <a:r>
                        <a:rPr lang="zh-CN" altLang="en-US" sz="1200" b="1" u="none" strike="noStrike" kern="1200" dirty="0">
                          <a:solidFill>
                            <a:schemeClr val="lt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评分细则</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28575"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rgbClr val="A31620"/>
                    </a:solidFill>
                  </a:tcPr>
                </a:tc>
                <a:extLst>
                  <a:ext uri="{0D108BD9-81ED-4DB2-BD59-A6C34878D82A}">
                    <a16:rowId xmlns:a16="http://schemas.microsoft.com/office/drawing/2014/main" val="10000"/>
                  </a:ext>
                </a:extLst>
              </a:tr>
              <a:tr h="655224">
                <a:tc rowSpan="2">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患者数量</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2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sym typeface="微软雅黑" panose="020B0503020204020204" pitchFamily="34" charset="-122"/>
                        </a:rPr>
                        <a:t>有明确诊断的患者数（包括特应性皮炎、结节性痒疹、湿疹）</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总人数：</a:t>
                      </a:r>
                      <a:r>
                        <a:rPr lang="zh-CN" altLang="en-US"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1" u="sng"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1" i="0" u="sng"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200" b="1"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且＜</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评估</a:t>
                      </a:r>
                      <a:r>
                        <a:rPr lang="zh-CN" altLang="en-US" sz="1200" b="1"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每月</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录入的有明确诊断的初诊病例数</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1"/>
                  </a:ext>
                </a:extLst>
              </a:tr>
              <a:tr h="654730">
                <a:tc vMerge="1">
                  <a:txBody>
                    <a:bodyPr/>
                    <a:lstStyle/>
                    <a:p>
                      <a:endParaRPr lang="zh-CN"/>
                    </a:p>
                  </a:txBody>
                  <a:tcPr/>
                </a:tc>
                <a:tc>
                  <a:txBody>
                    <a:bodyPr/>
                    <a:lstStyle/>
                    <a:p>
                      <a:pPr marL="91440"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sym typeface="微软雅黑" panose="020B0503020204020204" pitchFamily="34" charset="-122"/>
                        </a:rPr>
                        <a:t>有效管理的使用生物制剂治疗的患者数量（初诊或复诊使用均可）</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总人数：无，</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 </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评估，每月录入的使用生物制剂治疗的患者数</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2"/>
                  </a:ext>
                </a:extLst>
              </a:tr>
              <a:tr h="564303">
                <a:tc>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生活质量评估（</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皮炎</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湿疹患者生活质量评估率</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且</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且</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4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评估，生活质量评估指的是</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DLQI/CDLQI/IDLQI</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量表评估，评估率定义为有过复诊记录的患者中，至少做过两次生活质量评估的患者比例</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10003"/>
                  </a:ext>
                </a:extLst>
              </a:tr>
              <a:tr h="564303">
                <a:tc>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实验室检查</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endParaRPr>
                    </a:p>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28575" cap="flat" cmpd="sng" algn="ctr">
                      <a:solidFill>
                        <a:srgbClr val="A31620"/>
                      </a:solidFill>
                      <a:prstDash val="solid"/>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sym typeface="微软雅黑" panose="020B0503020204020204" pitchFamily="34" charset="-122"/>
                        </a:rPr>
                        <a:t>病例的实验室检查照片上传完整率</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且</a:t>
                      </a:r>
                      <a:r>
                        <a:rPr lang="zh-CN" altLang="en-US"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系统判定，上传实验室检查照片的患者数</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所有患者数</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extLst>
                  <a:ext uri="{0D108BD9-81ED-4DB2-BD59-A6C34878D82A}">
                    <a16:rowId xmlns:a16="http://schemas.microsoft.com/office/drawing/2014/main" val="2055148537"/>
                  </a:ext>
                </a:extLst>
              </a:tr>
            </a:tbl>
          </a:graphicData>
        </a:graphic>
      </p:graphicFrame>
      <p:sp>
        <p:nvSpPr>
          <p:cNvPr id="9" name="矩形 8">
            <a:extLst>
              <a:ext uri="{FF2B5EF4-FFF2-40B4-BE49-F238E27FC236}">
                <a16:creationId xmlns:a16="http://schemas.microsoft.com/office/drawing/2014/main" id="{013D94FE-2B2B-42CB-AA0B-0D9DF1856A0D}"/>
              </a:ext>
            </a:extLst>
          </p:cNvPr>
          <p:cNvSpPr/>
          <p:nvPr/>
        </p:nvSpPr>
        <p:spPr>
          <a:xfrm>
            <a:off x="449738" y="1341566"/>
            <a:ext cx="6553200" cy="276999"/>
          </a:xfrm>
          <a:prstGeom prst="rect">
            <a:avLst/>
          </a:prstGeom>
          <a:solidFill>
            <a:srgbClr val="9B000B"/>
          </a:solidFill>
          <a:ln>
            <a:solidFill>
              <a:srgbClr val="9B000B"/>
            </a:solidFill>
            <a:prstDash val="dash"/>
          </a:ln>
        </p:spPr>
        <p:txBody>
          <a:bodyPr wrap="square">
            <a:spAutoFit/>
          </a:bodyPr>
          <a:lstStyle/>
          <a:p>
            <a:pPr marL="171450" indent="-171450">
              <a:buFont typeface="Wingdings" panose="05000000000000000000" pitchFamily="2" charset="2"/>
              <a:buChar char="Ø"/>
            </a:pP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与数据库录入相关的评价，第二批单位针对</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02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年</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至</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3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数据进行计分</a:t>
            </a:r>
            <a:endParaRPr lang="zh-CN" altLang="en-US" sz="12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54019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4CC736-7961-4574-A1A3-8DCAD11BE33A}"/>
              </a:ext>
            </a:extLst>
          </p:cNvPr>
          <p:cNvGraphicFramePr>
            <a:graphicFrameLocks noChangeAspect="1"/>
          </p:cNvGraphicFramePr>
          <p:nvPr>
            <p:custDataLst>
              <p:tags r:id="rId1"/>
            </p:custDataLst>
            <p:extLst>
              <p:ext uri="{D42A27DB-BD31-4B8C-83A1-F6EECF244321}">
                <p14:modId xmlns:p14="http://schemas.microsoft.com/office/powerpoint/2010/main" val="4029307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5" name="Object 4" hidden="1">
                        <a:extLst>
                          <a:ext uri="{FF2B5EF4-FFF2-40B4-BE49-F238E27FC236}">
                            <a16:creationId xmlns:a16="http://schemas.microsoft.com/office/drawing/2014/main" id="{184CC736-7961-4574-A1A3-8DCAD11BE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A7C07B0-E152-4F42-B641-35CAC2BB1704}"/>
              </a:ext>
            </a:extLst>
          </p:cNvPr>
          <p:cNvSpPr txBox="1">
            <a:spLocks/>
          </p:cNvSpPr>
          <p:nvPr/>
        </p:nvSpPr>
        <p:spPr>
          <a:xfrm>
            <a:off x="3733800" y="196948"/>
            <a:ext cx="7144384"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诊疗能力评分标准（</a:t>
            </a:r>
            <a:r>
              <a:rPr lang="en-US" altLang="zh-CN" sz="2400" kern="0" dirty="0">
                <a:latin typeface="微软雅黑" panose="020B0503020204020204" pitchFamily="34" charset="-122"/>
                <a:ea typeface="微软雅黑" panose="020B0503020204020204" pitchFamily="34" charset="-122"/>
                <a:sym typeface="微软雅黑" panose="020B0503020204020204" pitchFamily="34" charset="-122"/>
              </a:rPr>
              <a:t>260</a:t>
            </a: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分）</a:t>
            </a:r>
            <a:r>
              <a:rPr kumimoji="0" lang="en-US" altLang="zh-CN"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a:t>
            </a:r>
            <a:r>
              <a:rPr kumimoji="0" lang="zh-CN" altLang="en-US" sz="2400" b="1" i="0" u="none" strike="noStrike" kern="0" cap="none" spc="0" normalizeH="0" baseline="0" noProof="0" dirty="0">
                <a:ln>
                  <a:noFill/>
                </a:ln>
                <a:solidFill>
                  <a:srgbClr val="A9222C"/>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二页</a:t>
            </a:r>
          </a:p>
        </p:txBody>
      </p:sp>
      <p:graphicFrame>
        <p:nvGraphicFramePr>
          <p:cNvPr id="10" name="表格 9">
            <a:extLst>
              <a:ext uri="{FF2B5EF4-FFF2-40B4-BE49-F238E27FC236}">
                <a16:creationId xmlns:a16="http://schemas.microsoft.com/office/drawing/2014/main" id="{E5504E66-9750-4F62-95C6-9675322207DD}"/>
              </a:ext>
            </a:extLst>
          </p:cNvPr>
          <p:cNvGraphicFramePr>
            <a:graphicFrameLocks noGrp="1"/>
          </p:cNvGraphicFramePr>
          <p:nvPr>
            <p:extLst>
              <p:ext uri="{D42A27DB-BD31-4B8C-83A1-F6EECF244321}">
                <p14:modId xmlns:p14="http://schemas.microsoft.com/office/powerpoint/2010/main" val="121825426"/>
              </p:ext>
            </p:extLst>
          </p:nvPr>
        </p:nvGraphicFramePr>
        <p:xfrm>
          <a:off x="172278" y="1140341"/>
          <a:ext cx="11506200" cy="5029198"/>
        </p:xfrm>
        <a:graphic>
          <a:graphicData uri="http://schemas.openxmlformats.org/drawingml/2006/table">
            <a:tbl>
              <a:tblPr/>
              <a:tblGrid>
                <a:gridCol w="1126482">
                  <a:extLst>
                    <a:ext uri="{9D8B030D-6E8A-4147-A177-3AD203B41FA5}">
                      <a16:colId xmlns:a16="http://schemas.microsoft.com/office/drawing/2014/main" val="1464017341"/>
                    </a:ext>
                  </a:extLst>
                </a:gridCol>
                <a:gridCol w="952058">
                  <a:extLst>
                    <a:ext uri="{9D8B030D-6E8A-4147-A177-3AD203B41FA5}">
                      <a16:colId xmlns:a16="http://schemas.microsoft.com/office/drawing/2014/main" val="3212723856"/>
                    </a:ext>
                  </a:extLst>
                </a:gridCol>
                <a:gridCol w="1855839">
                  <a:extLst>
                    <a:ext uri="{9D8B030D-6E8A-4147-A177-3AD203B41FA5}">
                      <a16:colId xmlns:a16="http://schemas.microsoft.com/office/drawing/2014/main" val="2712812403"/>
                    </a:ext>
                  </a:extLst>
                </a:gridCol>
                <a:gridCol w="3563210">
                  <a:extLst>
                    <a:ext uri="{9D8B030D-6E8A-4147-A177-3AD203B41FA5}">
                      <a16:colId xmlns:a16="http://schemas.microsoft.com/office/drawing/2014/main" val="1781197957"/>
                    </a:ext>
                  </a:extLst>
                </a:gridCol>
                <a:gridCol w="4008611">
                  <a:extLst>
                    <a:ext uri="{9D8B030D-6E8A-4147-A177-3AD203B41FA5}">
                      <a16:colId xmlns:a16="http://schemas.microsoft.com/office/drawing/2014/main" val="2308977175"/>
                    </a:ext>
                  </a:extLst>
                </a:gridCol>
              </a:tblGrid>
              <a:tr h="342766">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大项</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solidFill>
                      <a:srgbClr val="C0504D"/>
                    </a:solidFill>
                  </a:tcPr>
                </a:tc>
                <a:tc>
                  <a:txBody>
                    <a:body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疾病</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solidFill>
                      <a:srgbClr val="C0504D"/>
                    </a:solidFill>
                  </a:tcPr>
                </a:tc>
                <a:tc>
                  <a:txBody>
                    <a:body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小项</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solidFill>
                      <a:srgbClr val="C0504D"/>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评分标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solidFill>
                      <a:srgbClr val="C0504D"/>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评分细则</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solidFill>
                      <a:srgbClr val="C0504D"/>
                    </a:solidFill>
                  </a:tcPr>
                </a:tc>
                <a:extLst>
                  <a:ext uri="{0D108BD9-81ED-4DB2-BD59-A6C34878D82A}">
                    <a16:rowId xmlns:a16="http://schemas.microsoft.com/office/drawing/2014/main" val="3916407981"/>
                  </a:ext>
                </a:extLst>
              </a:tr>
              <a:tr h="540787">
                <a:tc rowSpan="2">
                  <a:txBody>
                    <a:bodyPr/>
                    <a:lstStyle/>
                    <a:p>
                      <a:pPr algn="ctr"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随访率</a:t>
                      </a:r>
                      <a:endParaRPr lang="en-US" altLang="zh-CN" sz="1200" b="0" i="0" u="none" strike="noStrike" dirty="0">
                        <a:solidFill>
                          <a:srgbClr val="0D0D0D"/>
                        </a:solidFill>
                        <a:effectLst/>
                        <a:latin typeface="微软雅黑" panose="020B0503020204020204" pitchFamily="34" charset="-122"/>
                        <a:ea typeface="微软雅黑" panose="020B0503020204020204" pitchFamily="34" charset="-122"/>
                      </a:endParaRPr>
                    </a:p>
                    <a:p>
                      <a:pPr algn="ctr"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rPr>
                        <a:t>40</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ctr" rtl="0" fontAlgn="ctr"/>
                      <a:r>
                        <a:rPr lang="en-US" altLang="zh-CN" sz="1200" b="0" i="0" u="none" strike="noStrike">
                          <a:solidFill>
                            <a:srgbClr val="0D0D0D"/>
                          </a:solidFill>
                          <a:effectLst/>
                          <a:latin typeface="微软雅黑" panose="020B0503020204020204" pitchFamily="34" charset="-122"/>
                          <a:ea typeface="微软雅黑" panose="020B0503020204020204" pitchFamily="34" charset="-122"/>
                        </a:rPr>
                        <a:t>/</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a:noFill/>
                    </a:lnB>
                  </a:tcPr>
                </a:tc>
                <a:tc>
                  <a:txBody>
                    <a:bodyPr/>
                    <a:lstStyle/>
                    <a:p>
                      <a:pPr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rPr>
                        <a:t>4</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周随访率</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随访记录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197897011"/>
                  </a:ext>
                </a:extLst>
              </a:tr>
              <a:tr h="540787">
                <a:tc vMerge="1">
                  <a:txBody>
                    <a:bodyPr/>
                    <a:lstStyle/>
                    <a:p>
                      <a:endParaRPr lang="en-US"/>
                    </a:p>
                  </a:txBody>
                  <a:tcPr/>
                </a:tc>
                <a:tc>
                  <a:txBody>
                    <a:bodyPr/>
                    <a:lstStyle/>
                    <a:p>
                      <a:pPr algn="ctr" rtl="0" fontAlgn="ctr"/>
                      <a:r>
                        <a:rPr lang="en-US" altLang="zh-CN" sz="1200" b="0" i="0" u="none" strike="noStrike">
                          <a:solidFill>
                            <a:srgbClr val="0D0D0D"/>
                          </a:solidFill>
                          <a:effectLst/>
                          <a:latin typeface="微软雅黑" panose="020B0503020204020204" pitchFamily="34" charset="-122"/>
                          <a:ea typeface="微软雅黑" panose="020B0503020204020204" pitchFamily="34" charset="-122"/>
                        </a:rPr>
                        <a:t>/</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a:noFill/>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周随访率</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随访记录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1666192114"/>
                  </a:ext>
                </a:extLst>
              </a:tr>
              <a:tr h="540787">
                <a:tc rowSpan="6">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随访量表完整度（</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rowSpan="4">
                  <a:txBody>
                    <a:bodyPr/>
                    <a:lstStyle/>
                    <a:p>
                      <a:pPr algn="ctr"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若诊断为，</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特应性皮炎</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皮炎湿疹</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rPr>
                        <a:t>4</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周随访</a:t>
                      </a:r>
                      <a:r>
                        <a:rPr lang="en-US" sz="1200" b="0" i="0" u="none" strike="noStrike" dirty="0">
                          <a:solidFill>
                            <a:srgbClr val="0D0D0D"/>
                          </a:solidFill>
                          <a:effectLst/>
                          <a:latin typeface="微软雅黑" panose="020B0503020204020204" pitchFamily="34" charset="-122"/>
                          <a:ea typeface="微软雅黑" panose="020B0503020204020204" pitchFamily="34" charset="-122"/>
                        </a:rPr>
                        <a:t>EASI+NRS</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量表完整度</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EASI</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和</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NRS</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1297987006"/>
                  </a:ext>
                </a:extLst>
              </a:tr>
              <a:tr h="540787">
                <a:tc vMerge="1">
                  <a:txBody>
                    <a:bodyPr/>
                    <a:lstStyle/>
                    <a:p>
                      <a:endParaRPr lang="en-US"/>
                    </a:p>
                  </a:txBody>
                  <a:tcPr/>
                </a:tc>
                <a:tc vMerge="1">
                  <a:txBody>
                    <a:bodyPr/>
                    <a:lstStyle/>
                    <a:p>
                      <a:endParaRPr lang="en-US"/>
                    </a:p>
                  </a:txBody>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额外奖励分数）</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3524581706"/>
                  </a:ext>
                </a:extLst>
              </a:tr>
              <a:tr h="540787">
                <a:tc vMerge="1">
                  <a:txBody>
                    <a:bodyPr/>
                    <a:lstStyle/>
                    <a:p>
                      <a:endParaRPr lang="en-US"/>
                    </a:p>
                  </a:txBody>
                  <a:tcPr/>
                </a:tc>
                <a:tc vMerge="1">
                  <a:txBody>
                    <a:bodyPr/>
                    <a:lstStyle/>
                    <a:p>
                      <a:endParaRPr lang="en-US"/>
                    </a:p>
                  </a:txBody>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EASI+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EASI</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和</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3661522847"/>
                  </a:ext>
                </a:extLst>
              </a:tr>
              <a:tr h="540787">
                <a:tc vMerge="1">
                  <a:txBody>
                    <a:bodyPr/>
                    <a:lstStyle/>
                    <a:p>
                      <a:endParaRPr lang="en-US"/>
                    </a:p>
                  </a:txBody>
                  <a:tcPr/>
                </a:tc>
                <a:tc vMerge="1">
                  <a:txBody>
                    <a:bodyPr/>
                    <a:lstStyle/>
                    <a:p>
                      <a:endParaRPr lang="en-US"/>
                    </a:p>
                  </a:txBody>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额外奖励分数）</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4087335784"/>
                  </a:ext>
                </a:extLst>
              </a:tr>
              <a:tr h="720855">
                <a:tc vMerge="1">
                  <a:txBody>
                    <a:bodyPr/>
                    <a:lstStyle/>
                    <a:p>
                      <a:endParaRPr lang="en-US"/>
                    </a:p>
                  </a:txBody>
                  <a:tcPr/>
                </a:tc>
                <a:tc rowSpan="2">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若诊断为，</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结节性痒疹</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  </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2041766035"/>
                  </a:ext>
                </a:extLst>
              </a:tr>
              <a:tr h="720855">
                <a:tc vMerge="1">
                  <a:txBody>
                    <a:bodyPr/>
                    <a:lstStyle/>
                    <a:p>
                      <a:endParaRPr lang="en-US"/>
                    </a:p>
                  </a:txBody>
                  <a:tcPr>
                    <a:lnT w="6350" cap="flat" cmpd="sng" algn="ctr">
                      <a:solidFill>
                        <a:srgbClr val="A31620"/>
                      </a:solidFill>
                      <a:prstDash val="dot"/>
                      <a:round/>
                      <a:headEnd type="none" w="med" len="med"/>
                      <a:tailEnd type="none" w="med" len="med"/>
                    </a:lnT>
                  </a:tcPr>
                </a:tc>
                <a:tc vMerge="1">
                  <a:txBody>
                    <a:bodyPr/>
                    <a:lstStyle/>
                    <a:p>
                      <a:endParaRPr lang="en-US"/>
                    </a:p>
                  </a:txBody>
                  <a:tcPr>
                    <a:lnT w="6350" cap="flat" cmpd="sng" algn="ctr">
                      <a:solidFill>
                        <a:srgbClr val="A31620"/>
                      </a:solidFill>
                      <a:prstDash val="dot"/>
                      <a:round/>
                      <a:headEnd type="none" w="med" len="med"/>
                      <a:tailEnd type="none" w="med" len="med"/>
                    </a:lnT>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  </a:t>
                      </a:r>
                    </a:p>
                  </a:txBody>
                  <a:tcPr marL="596" marR="596" marT="596" marB="0" anchor="ctr">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7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7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6350" cap="flat" cmpd="sng" algn="ctr">
                      <a:solidFill>
                        <a:srgbClr val="A31620"/>
                      </a:solidFill>
                      <a:prstDash val="dot"/>
                      <a:round/>
                      <a:headEnd type="none" w="med" len="med"/>
                      <a:tailEnd type="none" w="med" len="med"/>
                    </a:lnL>
                    <a:lnR w="6350" cap="flat" cmpd="sng" algn="ctr">
                      <a:solidFill>
                        <a:srgbClr val="A31620"/>
                      </a:solidFill>
                      <a:prstDash val="dot"/>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填写过随访记录中的</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6350" cap="flat" cmpd="sng" algn="ctr">
                      <a:solidFill>
                        <a:srgbClr val="A31620"/>
                      </a:solidFill>
                      <a:prstDash val="dot"/>
                      <a:round/>
                      <a:headEnd type="none" w="med" len="med"/>
                      <a:tailEnd type="none" w="med" len="med"/>
                    </a:lnL>
                    <a:lnR w="19050" cap="flat" cmpd="sng" algn="ctr">
                      <a:solidFill>
                        <a:srgbClr val="A31620"/>
                      </a:solidFill>
                      <a:prstDash val="solid"/>
                      <a:round/>
                      <a:headEnd type="none" w="med" len="med"/>
                      <a:tailEnd type="none" w="med" len="med"/>
                    </a:lnR>
                    <a:lnT w="6350" cap="flat" cmpd="sng" algn="ctr">
                      <a:solidFill>
                        <a:srgbClr val="A31620"/>
                      </a:solidFill>
                      <a:prstDash val="dot"/>
                      <a:round/>
                      <a:headEnd type="none" w="med" len="med"/>
                      <a:tailEnd type="none" w="med" len="med"/>
                    </a:lnT>
                    <a:lnB w="6350" cap="flat" cmpd="sng" algn="ctr">
                      <a:solidFill>
                        <a:srgbClr val="A31620"/>
                      </a:solidFill>
                      <a:prstDash val="dot"/>
                      <a:round/>
                      <a:headEnd type="none" w="med" len="med"/>
                      <a:tailEnd type="none" w="med" len="med"/>
                    </a:lnB>
                  </a:tcPr>
                </a:tc>
                <a:extLst>
                  <a:ext uri="{0D108BD9-81ED-4DB2-BD59-A6C34878D82A}">
                    <a16:rowId xmlns:a16="http://schemas.microsoft.com/office/drawing/2014/main" val="1888350318"/>
                  </a:ext>
                </a:extLst>
              </a:tr>
            </a:tbl>
          </a:graphicData>
        </a:graphic>
      </p:graphicFrame>
      <p:sp>
        <p:nvSpPr>
          <p:cNvPr id="7" name="Title 1">
            <a:extLst>
              <a:ext uri="{FF2B5EF4-FFF2-40B4-BE49-F238E27FC236}">
                <a16:creationId xmlns:a16="http://schemas.microsoft.com/office/drawing/2014/main" id="{AF7121DF-2DF1-48D2-A98C-48ED6FAE5EA5}"/>
              </a:ext>
            </a:extLst>
          </p:cNvPr>
          <p:cNvSpPr txBox="1">
            <a:spLocks/>
          </p:cNvSpPr>
          <p:nvPr/>
        </p:nvSpPr>
        <p:spPr>
          <a:xfrm>
            <a:off x="188843" y="6403438"/>
            <a:ext cx="5257800" cy="244362"/>
          </a:xfrm>
          <a:prstGeom prst="rect">
            <a:avLst/>
          </a:prstGeom>
        </p:spPr>
        <p:txBody>
          <a:bodyPr vert="horz"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r>
              <a:rPr lang="zh-CN" altLang="en-US" sz="1200" u="sng" kern="0" dirty="0">
                <a:latin typeface="微软雅黑" panose="020B0503020204020204" pitchFamily="34" charset="-122"/>
                <a:ea typeface="微软雅黑" panose="020B0503020204020204" pitchFamily="34" charset="-122"/>
                <a:sym typeface="微软雅黑" panose="020B0503020204020204" pitchFamily="34" charset="-122"/>
              </a:rPr>
              <a:t>备注：特应性皮炎</a:t>
            </a:r>
            <a:r>
              <a:rPr lang="en-US" altLang="zh-CN" sz="1200" u="sng" kern="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u="sng" kern="0" dirty="0">
                <a:latin typeface="微软雅黑" panose="020B0503020204020204" pitchFamily="34" charset="-122"/>
                <a:ea typeface="微软雅黑" panose="020B0503020204020204" pitchFamily="34" charset="-122"/>
                <a:sym typeface="微软雅黑" panose="020B0503020204020204" pitchFamily="34" charset="-122"/>
              </a:rPr>
              <a:t>湿疹填写</a:t>
            </a:r>
            <a:r>
              <a:rPr lang="en-US" altLang="zh-CN" sz="1200" u="sng" kern="0" dirty="0">
                <a:latin typeface="微软雅黑" panose="020B0503020204020204" pitchFamily="34" charset="-122"/>
                <a:ea typeface="微软雅黑" panose="020B0503020204020204" pitchFamily="34" charset="-122"/>
                <a:sym typeface="微软雅黑" panose="020B0503020204020204" pitchFamily="34" charset="-122"/>
              </a:rPr>
              <a:t>ADCT</a:t>
            </a:r>
            <a:r>
              <a:rPr lang="zh-CN" altLang="en-US" sz="1200" u="sng" kern="0" dirty="0">
                <a:latin typeface="微软雅黑" panose="020B0503020204020204" pitchFamily="34" charset="-122"/>
                <a:ea typeface="微软雅黑" panose="020B0503020204020204" pitchFamily="34" charset="-122"/>
                <a:sym typeface="微软雅黑" panose="020B0503020204020204" pitchFamily="34" charset="-122"/>
              </a:rPr>
              <a:t>量表，可额外奖励</a:t>
            </a:r>
            <a:r>
              <a:rPr lang="en-US" altLang="zh-CN" sz="1200" u="sng" kern="0" dirty="0">
                <a:latin typeface="微软雅黑" panose="020B0503020204020204" pitchFamily="34" charset="-122"/>
                <a:ea typeface="微软雅黑" panose="020B0503020204020204" pitchFamily="34" charset="-122"/>
                <a:sym typeface="微软雅黑" panose="020B0503020204020204" pitchFamily="34" charset="-122"/>
              </a:rPr>
              <a:t>40</a:t>
            </a:r>
            <a:r>
              <a:rPr lang="zh-CN" altLang="en-US" sz="1200" u="sng" kern="0" dirty="0">
                <a:latin typeface="微软雅黑" panose="020B0503020204020204" pitchFamily="34" charset="-122"/>
                <a:ea typeface="微软雅黑" panose="020B0503020204020204" pitchFamily="34" charset="-122"/>
                <a:sym typeface="微软雅黑" panose="020B0503020204020204" pitchFamily="34" charset="-122"/>
              </a:rPr>
              <a:t>分</a:t>
            </a:r>
            <a:endParaRPr lang="en-US" altLang="zh-CN" sz="1200" u="sng" kern="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矩形 7">
            <a:extLst>
              <a:ext uri="{FF2B5EF4-FFF2-40B4-BE49-F238E27FC236}">
                <a16:creationId xmlns:a16="http://schemas.microsoft.com/office/drawing/2014/main" id="{022DE1AA-C052-4F58-9CBA-F1B5EBF3EA09}"/>
              </a:ext>
            </a:extLst>
          </p:cNvPr>
          <p:cNvSpPr/>
          <p:nvPr/>
        </p:nvSpPr>
        <p:spPr>
          <a:xfrm>
            <a:off x="304800" y="757479"/>
            <a:ext cx="6553200" cy="276999"/>
          </a:xfrm>
          <a:prstGeom prst="rect">
            <a:avLst/>
          </a:prstGeom>
          <a:solidFill>
            <a:srgbClr val="9B000B"/>
          </a:solidFill>
          <a:ln>
            <a:solidFill>
              <a:srgbClr val="9B000B"/>
            </a:solidFill>
            <a:prstDash val="dash"/>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Wingdings" panose="05000000000000000000" pitchFamily="2" charset="2"/>
              <a:buChar char="Ø"/>
            </a:pP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与数据库录入相关的评价，第二批单位针对</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02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年</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0</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至</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12</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en-US" altLang="zh-CN"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31</a:t>
            </a:r>
            <a:r>
              <a:rPr lang="zh-CN" altLang="en-US" sz="1200" b="1"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日数据进行计分</a:t>
            </a:r>
            <a:endParaRPr lang="zh-CN" altLang="en-US" sz="12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647020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92A9AA15-A860-4756-8CD1-B97611718949}"/>
              </a:ext>
            </a:extLst>
          </p:cNvPr>
          <p:cNvGraphicFramePr>
            <a:graphicFrameLocks noChangeAspect="1"/>
          </p:cNvGraphicFramePr>
          <p:nvPr>
            <p:custDataLst>
              <p:tags r:id="rId1"/>
            </p:custDataLst>
            <p:extLst>
              <p:ext uri="{D42A27DB-BD31-4B8C-83A1-F6EECF244321}">
                <p14:modId xmlns:p14="http://schemas.microsoft.com/office/powerpoint/2010/main" val="194927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4" name="对象 3" hidden="1">
                        <a:extLst>
                          <a:ext uri="{FF2B5EF4-FFF2-40B4-BE49-F238E27FC236}">
                            <a16:creationId xmlns:a16="http://schemas.microsoft.com/office/drawing/2014/main" id="{92A9AA15-A860-4756-8CD1-B976117189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2286000" y="3733800"/>
            <a:ext cx="2514600" cy="757555"/>
          </a:xfrm>
          <a:prstGeom prst="rect">
            <a:avLst/>
          </a:prstGeom>
        </p:spPr>
        <p:txBody>
          <a:bodyPr vert="horz" wrap="square" lIns="0" tIns="12700" rIns="0" bIns="0" rtlCol="0">
            <a:spAutoFit/>
          </a:bodyPr>
          <a:lstStyle/>
          <a:p>
            <a:pPr marL="12700">
              <a:spcBef>
                <a:spcPts val="100"/>
              </a:spcBef>
              <a:tabLst>
                <a:tab pos="1345565" algn="l"/>
              </a:tabLst>
            </a:pPr>
            <a:r>
              <a:rPr sz="4800" b="1" dirty="0">
                <a:solidFill>
                  <a:srgbClr val="FFFFFF"/>
                </a:solidFill>
                <a:latin typeface="微软雅黑" panose="020B0503020204020204" pitchFamily="34" charset="-122"/>
                <a:ea typeface="微软雅黑" panose="020B0503020204020204" pitchFamily="34" charset="-122"/>
                <a:cs typeface="Microsoft YaHei"/>
                <a:sym typeface="微软雅黑" panose="020B0503020204020204" pitchFamily="34" charset="-122"/>
              </a:rPr>
              <a:t>谢	谢</a:t>
            </a:r>
            <a:endParaRPr sz="4800" dirty="0">
              <a:latin typeface="微软雅黑" panose="020B0503020204020204" pitchFamily="34" charset="-122"/>
              <a:ea typeface="微软雅黑" panose="020B0503020204020204" pitchFamily="34" charset="-122"/>
              <a:cs typeface="Microsoft YaHei"/>
              <a:sym typeface="微软雅黑" panose="020B0503020204020204" pitchFamily="34" charset="-122"/>
            </a:endParaRPr>
          </a:p>
        </p:txBody>
      </p:sp>
      <p:pic>
        <p:nvPicPr>
          <p:cNvPr id="3" name="object 3"/>
          <p:cNvPicPr/>
          <p:nvPr/>
        </p:nvPicPr>
        <p:blipFill>
          <a:blip r:embed="rId6" cstate="print"/>
          <a:stretch>
            <a:fillRect/>
          </a:stretch>
        </p:blipFill>
        <p:spPr>
          <a:xfrm>
            <a:off x="3141047" y="441280"/>
            <a:ext cx="6447253" cy="826138"/>
          </a:xfrm>
          <a:prstGeom prst="rect">
            <a:avLst/>
          </a:prstGeom>
        </p:spPr>
      </p:pic>
    </p:spTree>
    <p:extLst>
      <p:ext uri="{BB962C8B-B14F-4D97-AF65-F5344CB8AC3E}">
        <p14:creationId xmlns:p14="http://schemas.microsoft.com/office/powerpoint/2010/main" val="1422886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10637551"/>
              </p:ext>
            </p:extLst>
          </p:nvPr>
        </p:nvGraphicFramePr>
        <p:xfrm>
          <a:off x="1525191" y="858441"/>
          <a:ext cx="1190" cy="1190"/>
        </p:xfrm>
        <a:graphic>
          <a:graphicData uri="http://schemas.openxmlformats.org/presentationml/2006/ole">
            <mc:AlternateContent xmlns:mc="http://schemas.openxmlformats.org/markup-compatibility/2006">
              <mc:Choice xmlns:v="urn:schemas-microsoft-com:vml" Requires="v">
                <p:oleObj name="think-cell 幻灯片" r:id="rId4" imgW="216" imgH="216" progId="TCLayout.ActiveDocument.1">
                  <p:embed/>
                </p:oleObj>
              </mc:Choice>
              <mc:Fallback>
                <p:oleObj name="think-cell 幻灯片" r:id="rId4" imgW="216" imgH="216" progId="TCLayout.ActiveDocument.1">
                  <p:embed/>
                  <p:pic>
                    <p:nvPicPr>
                      <p:cNvPr id="2" name="Object 1" hidden="1"/>
                      <p:cNvPicPr/>
                      <p:nvPr/>
                    </p:nvPicPr>
                    <p:blipFill>
                      <a:blip r:embed="rId5"/>
                      <a:stretch>
                        <a:fillRect/>
                      </a:stretch>
                    </p:blipFill>
                    <p:spPr>
                      <a:xfrm>
                        <a:off x="1525191" y="858441"/>
                        <a:ext cx="1190" cy="1190"/>
                      </a:xfrm>
                      <a:prstGeom prst="rect">
                        <a:avLst/>
                      </a:prstGeom>
                    </p:spPr>
                  </p:pic>
                </p:oleObj>
              </mc:Fallback>
            </mc:AlternateContent>
          </a:graphicData>
        </a:graphic>
      </p:graphicFrame>
      <p:sp>
        <p:nvSpPr>
          <p:cNvPr id="9" name="Rectangle 5"/>
          <p:cNvSpPr/>
          <p:nvPr/>
        </p:nvSpPr>
        <p:spPr>
          <a:xfrm>
            <a:off x="3657600" y="1562100"/>
            <a:ext cx="8534400" cy="6858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fontAlgn="base">
              <a:spcBef>
                <a:spcPts val="150"/>
              </a:spcBef>
              <a:spcAft>
                <a:spcPct val="0"/>
              </a:spcAft>
              <a:defRPr/>
            </a:pPr>
            <a:endParaRPr lang="zh-CN" altLang="en-US" sz="105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Text Placeholder 4"/>
          <p:cNvSpPr>
            <a:spLocks noGrp="1"/>
          </p:cNvSpPr>
          <p:nvPr>
            <p:ph type="body" sz="quarter" idx="11"/>
          </p:nvPr>
        </p:nvSpPr>
        <p:spPr>
          <a:xfrm>
            <a:off x="4038600" y="1676400"/>
            <a:ext cx="6324600" cy="1955792"/>
          </a:xfrm>
          <a:prstGeom prst="rect">
            <a:avLst/>
          </a:prstGeom>
        </p:spPr>
        <p:txBody>
          <a:bodyPr/>
          <a:lstStyle/>
          <a:p>
            <a:pPr>
              <a:lnSpc>
                <a:spcPct val="150000"/>
              </a:lnSpc>
              <a:spcBef>
                <a:spcPts val="1350"/>
              </a:spcBef>
              <a:buClr>
                <a:schemeClr val="bg2">
                  <a:lumMod val="50000"/>
                </a:schemeClr>
              </a:buClr>
            </a:pPr>
            <a:r>
              <a:rPr lang="zh-CN" altLang="en-US"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 项目背景和目标</a:t>
            </a:r>
            <a:endParaRPr lang="en-US" altLang="zh-CN"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协作单位认证框架及流程</a:t>
            </a:r>
            <a:endParaRPr lang="en-US" altLang="zh-CN"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 协作单位认证评分标准</a:t>
            </a:r>
            <a:endParaRPr lang="en-US" altLang="zh-CN"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32316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0175A-2A38-4460-95AF-CB9FF1C234D3}"/>
              </a:ext>
            </a:extLst>
          </p:cNvPr>
          <p:cNvGraphicFramePr>
            <a:graphicFrameLocks noChangeAspect="1"/>
          </p:cNvGraphicFramePr>
          <p:nvPr>
            <p:custDataLst>
              <p:tags r:id="rId1"/>
            </p:custDataLst>
            <p:extLst>
              <p:ext uri="{D42A27DB-BD31-4B8C-83A1-F6EECF244321}">
                <p14:modId xmlns:p14="http://schemas.microsoft.com/office/powerpoint/2010/main" val="41413714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4" name="Object 3" hidden="1">
                        <a:extLst>
                          <a:ext uri="{FF2B5EF4-FFF2-40B4-BE49-F238E27FC236}">
                            <a16:creationId xmlns:a16="http://schemas.microsoft.com/office/drawing/2014/main" id="{EDA0175A-2A38-4460-95AF-CB9FF1C234D3}"/>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0FD8D6-E676-4E4C-99B2-3B77B3B4A9CE}"/>
              </a:ext>
            </a:extLst>
          </p:cNvPr>
          <p:cNvSpPr>
            <a:spLocks noGrp="1"/>
          </p:cNvSpPr>
          <p:nvPr>
            <p:ph type="title"/>
          </p:nvPr>
        </p:nvSpPr>
        <p:spPr>
          <a:xfrm>
            <a:off x="398980" y="838289"/>
            <a:ext cx="7144384" cy="369332"/>
          </a:xfrm>
        </p:spPr>
        <p:txBody>
          <a:bodyPr vert="horz"/>
          <a:lstStyle/>
          <a:p>
            <a:r>
              <a:rPr lang="zh-CN" altLang="en-US" sz="2400" dirty="0">
                <a:latin typeface="微软雅黑" panose="020B0503020204020204" pitchFamily="34" charset="-122"/>
                <a:ea typeface="微软雅黑" panose="020B0503020204020204" pitchFamily="34" charset="-122"/>
                <a:sym typeface="微软雅黑" panose="020B0503020204020204" pitchFamily="34" charset="-122"/>
              </a:rPr>
              <a:t>项目背景</a:t>
            </a:r>
          </a:p>
        </p:txBody>
      </p:sp>
      <p:sp>
        <p:nvSpPr>
          <p:cNvPr id="3" name="Text Placeholder 2">
            <a:extLst>
              <a:ext uri="{FF2B5EF4-FFF2-40B4-BE49-F238E27FC236}">
                <a16:creationId xmlns:a16="http://schemas.microsoft.com/office/drawing/2014/main" id="{80016852-7170-49DB-9790-4B61344195D8}"/>
              </a:ext>
            </a:extLst>
          </p:cNvPr>
          <p:cNvSpPr>
            <a:spLocks noGrp="1"/>
          </p:cNvSpPr>
          <p:nvPr>
            <p:ph type="body" idx="1"/>
          </p:nvPr>
        </p:nvSpPr>
        <p:spPr>
          <a:xfrm>
            <a:off x="2350962" y="4743904"/>
            <a:ext cx="6819629" cy="2416046"/>
          </a:xfrm>
        </p:spPr>
        <p:txBody>
          <a:bodyPr/>
          <a:lstStyle/>
          <a:p>
            <a:pPr marL="456565" marR="264795" indent="-285750" algn="just">
              <a:spcBef>
                <a:spcPts val="1010"/>
              </a:spcBef>
              <a:buFont typeface="Wingdings" panose="05000000000000000000" pitchFamily="2" charset="2"/>
              <a:buChar char="Ø"/>
              <a:tabLst>
                <a:tab pos="400050" algn="l"/>
              </a:tabLst>
            </a:pP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建立</a:t>
            </a:r>
            <a:r>
              <a:rPr lang="en-US" altLang="zh-CN"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2</a:t>
            </a:r>
            <a:r>
              <a:rPr lang="zh-CN" altLang="zh-CN"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型炎症皮肤病</a:t>
            </a: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全国协作网促进临床研究</a:t>
            </a:r>
          </a:p>
          <a:p>
            <a:pPr marL="455930" indent="-285750" algn="just">
              <a:spcBef>
                <a:spcPts val="1000"/>
              </a:spcBef>
              <a:buFont typeface="Wingdings" panose="05000000000000000000" pitchFamily="2" charset="2"/>
              <a:buChar char="Ø"/>
              <a:tabLst>
                <a:tab pos="400050" algn="l"/>
              </a:tabLst>
            </a:pP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大数据研究、专病规范诊疗、慢病管理三位一体协同发展</a:t>
            </a:r>
          </a:p>
          <a:p>
            <a:pPr marL="456565" marR="266065" indent="-285750">
              <a:spcBef>
                <a:spcPts val="994"/>
              </a:spcBef>
              <a:buFont typeface="Wingdings" panose="05000000000000000000" pitchFamily="2" charset="2"/>
              <a:buChar char="Ø"/>
              <a:tabLst>
                <a:tab pos="399415" algn="l"/>
                <a:tab pos="400050" algn="l"/>
              </a:tabLst>
            </a:pP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全面开放国家中心的资源支持协作单位的实践</a:t>
            </a:r>
            <a:endParaRPr lang="en-US" altLang="zh-CN"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456565" marR="266065" indent="-285750">
              <a:spcBef>
                <a:spcPts val="994"/>
              </a:spcBef>
              <a:buFont typeface="Wingdings" panose="05000000000000000000" pitchFamily="2" charset="2"/>
              <a:buChar char="Ø"/>
              <a:tabLst>
                <a:tab pos="399415" algn="l"/>
                <a:tab pos="400050" algn="l"/>
              </a:tabLst>
            </a:pP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强强联合，产</a:t>
            </a:r>
            <a:r>
              <a:rPr lang="en-US" altLang="zh-CN"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a:t>
            </a: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学</a:t>
            </a:r>
            <a:r>
              <a:rPr lang="en-US" altLang="zh-CN"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a:t>
            </a:r>
            <a:r>
              <a:rPr lang="zh-CN" altLang="en-US" kern="1200" dirty="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rPr>
              <a:t>研一体化发展</a:t>
            </a:r>
          </a:p>
          <a:p>
            <a:endParaRPr lang="zh-CN" altLang="zh-CN" sz="2000" dirty="0">
              <a:latin typeface="微软雅黑" panose="020B0503020204020204" pitchFamily="34" charset="-122"/>
              <a:ea typeface="微软雅黑" panose="020B0503020204020204" pitchFamily="34" charset="-122"/>
              <a:sym typeface="微软雅黑" panose="020B0503020204020204" pitchFamily="34" charset="-122"/>
            </a:endParaRPr>
          </a:p>
          <a:p>
            <a:endParaRPr lang="en-US" altLang="zh-CN" sz="2000" dirty="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sz="2000" dirty="0"/>
          </a:p>
        </p:txBody>
      </p:sp>
      <p:grpSp>
        <p:nvGrpSpPr>
          <p:cNvPr id="10" name="Group 9">
            <a:extLst>
              <a:ext uri="{FF2B5EF4-FFF2-40B4-BE49-F238E27FC236}">
                <a16:creationId xmlns:a16="http://schemas.microsoft.com/office/drawing/2014/main" id="{0FF8687A-ED1E-4C54-A35F-1ABAD4FE9596}"/>
              </a:ext>
            </a:extLst>
          </p:cNvPr>
          <p:cNvGrpSpPr/>
          <p:nvPr/>
        </p:nvGrpSpPr>
        <p:grpSpPr>
          <a:xfrm>
            <a:off x="1076858" y="1951759"/>
            <a:ext cx="884722" cy="819896"/>
            <a:chOff x="222802" y="2533500"/>
            <a:chExt cx="648000" cy="648000"/>
          </a:xfrm>
          <a:effectLst>
            <a:reflection blurRad="6350" stA="52000" endA="300" endPos="35000" dir="5400000" sy="-100000" algn="bl" rotWithShape="0"/>
          </a:effectLst>
        </p:grpSpPr>
        <p:sp>
          <p:nvSpPr>
            <p:cNvPr id="8" name="Rounded Rectangle 15">
              <a:extLst>
                <a:ext uri="{FF2B5EF4-FFF2-40B4-BE49-F238E27FC236}">
                  <a16:creationId xmlns:a16="http://schemas.microsoft.com/office/drawing/2014/main" id="{B99AD8B1-C837-4733-90AB-E81DDA017047}"/>
                </a:ext>
              </a:extLst>
            </p:cNvPr>
            <p:cNvSpPr/>
            <p:nvPr/>
          </p:nvSpPr>
          <p:spPr>
            <a:xfrm>
              <a:off x="222802" y="2533500"/>
              <a:ext cx="648000" cy="648000"/>
            </a:xfrm>
            <a:prstGeom prst="roundRect">
              <a:avLst/>
            </a:prstGeom>
            <a:solidFill>
              <a:srgbClr val="A31620"/>
            </a:solidFill>
            <a:ln w="25400" cap="flat" cmpd="sng" algn="ctr">
              <a:noFill/>
              <a:prstDash val="solid"/>
            </a:ln>
            <a:effectLst/>
          </p:spPr>
          <p:txBody>
            <a:bodyPr lIns="45720" rIns="45720" rtlCol="0" anchor="ctr" anchorCtr="0">
              <a:noAutofit/>
            </a:bodyPr>
            <a:lstStyle>
              <a:defPPr>
                <a:defRPr lang="en-US"/>
              </a:defPPr>
              <a:lvl1pPr marL="0" algn="l" defTabSz="914241" rtl="0" eaLnBrk="1" latinLnBrk="0" hangingPunct="1">
                <a:defRPr sz="1900" kern="1200">
                  <a:solidFill>
                    <a:schemeClr val="tx1"/>
                  </a:solidFill>
                  <a:latin typeface="+mn-lt"/>
                  <a:ea typeface="+mn-ea"/>
                  <a:cs typeface="+mn-cs"/>
                </a:defRPr>
              </a:lvl1pPr>
              <a:lvl2pPr marL="457119" algn="l" defTabSz="914241" rtl="0" eaLnBrk="1" latinLnBrk="0" hangingPunct="1">
                <a:defRPr sz="1900" kern="1200">
                  <a:solidFill>
                    <a:schemeClr val="tx1"/>
                  </a:solidFill>
                  <a:latin typeface="+mn-lt"/>
                  <a:ea typeface="+mn-ea"/>
                  <a:cs typeface="+mn-cs"/>
                </a:defRPr>
              </a:lvl2pPr>
              <a:lvl3pPr marL="914241" algn="l" defTabSz="914241" rtl="0" eaLnBrk="1" latinLnBrk="0" hangingPunct="1">
                <a:defRPr sz="1900" kern="1200">
                  <a:solidFill>
                    <a:schemeClr val="tx1"/>
                  </a:solidFill>
                  <a:latin typeface="+mn-lt"/>
                  <a:ea typeface="+mn-ea"/>
                  <a:cs typeface="+mn-cs"/>
                </a:defRPr>
              </a:lvl3pPr>
              <a:lvl4pPr marL="1371362" algn="l" defTabSz="914241" rtl="0" eaLnBrk="1" latinLnBrk="0" hangingPunct="1">
                <a:defRPr sz="1900" kern="1200">
                  <a:solidFill>
                    <a:schemeClr val="tx1"/>
                  </a:solidFill>
                  <a:latin typeface="+mn-lt"/>
                  <a:ea typeface="+mn-ea"/>
                  <a:cs typeface="+mn-cs"/>
                </a:defRPr>
              </a:lvl4pPr>
              <a:lvl5pPr marL="1828482" algn="l" defTabSz="914241" rtl="0" eaLnBrk="1" latinLnBrk="0" hangingPunct="1">
                <a:defRPr sz="1900" kern="1200">
                  <a:solidFill>
                    <a:schemeClr val="tx1"/>
                  </a:solidFill>
                  <a:latin typeface="+mn-lt"/>
                  <a:ea typeface="+mn-ea"/>
                  <a:cs typeface="+mn-cs"/>
                </a:defRPr>
              </a:lvl5pPr>
              <a:lvl6pPr marL="2285606" algn="l" defTabSz="914241" rtl="0" eaLnBrk="1" latinLnBrk="0" hangingPunct="1">
                <a:defRPr sz="1900" kern="1200">
                  <a:solidFill>
                    <a:schemeClr val="tx1"/>
                  </a:solidFill>
                  <a:latin typeface="+mn-lt"/>
                  <a:ea typeface="+mn-ea"/>
                  <a:cs typeface="+mn-cs"/>
                </a:defRPr>
              </a:lvl6pPr>
              <a:lvl7pPr marL="2742722" algn="l" defTabSz="914241" rtl="0" eaLnBrk="1" latinLnBrk="0" hangingPunct="1">
                <a:defRPr sz="1900" kern="1200">
                  <a:solidFill>
                    <a:schemeClr val="tx1"/>
                  </a:solidFill>
                  <a:latin typeface="+mn-lt"/>
                  <a:ea typeface="+mn-ea"/>
                  <a:cs typeface="+mn-cs"/>
                </a:defRPr>
              </a:lvl7pPr>
              <a:lvl8pPr marL="3199840" algn="l" defTabSz="914241" rtl="0" eaLnBrk="1" latinLnBrk="0" hangingPunct="1">
                <a:defRPr sz="1900" kern="1200">
                  <a:solidFill>
                    <a:schemeClr val="tx1"/>
                  </a:solidFill>
                  <a:latin typeface="+mn-lt"/>
                  <a:ea typeface="+mn-ea"/>
                  <a:cs typeface="+mn-cs"/>
                </a:defRPr>
              </a:lvl8pPr>
            </a:lstStyle>
            <a:p>
              <a:pPr algn="ctr">
                <a:defRPr/>
              </a:pPr>
              <a:endParaRPr lang="en-GB">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6" name="Graphic 5">
              <a:extLst>
                <a:ext uri="{FF2B5EF4-FFF2-40B4-BE49-F238E27FC236}">
                  <a16:creationId xmlns:a16="http://schemas.microsoft.com/office/drawing/2014/main" id="{20F0F4E8-1EE9-47CE-B72A-0CAA41F919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2962" y="2602468"/>
              <a:ext cx="487680" cy="487680"/>
            </a:xfrm>
            <a:prstGeom prst="rect">
              <a:avLst/>
            </a:prstGeom>
          </p:spPr>
        </p:pic>
      </p:grpSp>
      <p:cxnSp>
        <p:nvCxnSpPr>
          <p:cNvPr id="13" name="Straight Connector 12">
            <a:extLst>
              <a:ext uri="{FF2B5EF4-FFF2-40B4-BE49-F238E27FC236}">
                <a16:creationId xmlns:a16="http://schemas.microsoft.com/office/drawing/2014/main" id="{C2E2603F-694A-4915-89EC-B6816B132709}"/>
              </a:ext>
            </a:extLst>
          </p:cNvPr>
          <p:cNvCxnSpPr>
            <a:cxnSpLocks/>
          </p:cNvCxnSpPr>
          <p:nvPr/>
        </p:nvCxnSpPr>
        <p:spPr>
          <a:xfrm>
            <a:off x="990600" y="1475976"/>
            <a:ext cx="10149840" cy="0"/>
          </a:xfrm>
          <a:prstGeom prst="line">
            <a:avLst/>
          </a:prstGeom>
          <a:ln w="25400">
            <a:solidFill>
              <a:srgbClr val="A31620"/>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04A37C1-9B14-4C75-A6BA-A6A195FBE04C}"/>
              </a:ext>
            </a:extLst>
          </p:cNvPr>
          <p:cNvCxnSpPr>
            <a:cxnSpLocks/>
          </p:cNvCxnSpPr>
          <p:nvPr/>
        </p:nvCxnSpPr>
        <p:spPr>
          <a:xfrm>
            <a:off x="990600" y="3077958"/>
            <a:ext cx="10149840" cy="0"/>
          </a:xfrm>
          <a:prstGeom prst="line">
            <a:avLst/>
          </a:prstGeom>
          <a:ln w="25400">
            <a:solidFill>
              <a:srgbClr val="A31620"/>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5445952-EB68-4E18-BA61-95BDB2F54EA8}"/>
              </a:ext>
            </a:extLst>
          </p:cNvPr>
          <p:cNvCxnSpPr>
            <a:cxnSpLocks/>
          </p:cNvCxnSpPr>
          <p:nvPr/>
        </p:nvCxnSpPr>
        <p:spPr>
          <a:xfrm flipV="1">
            <a:off x="990600" y="4532835"/>
            <a:ext cx="10149840" cy="0"/>
          </a:xfrm>
          <a:prstGeom prst="line">
            <a:avLst/>
          </a:prstGeom>
          <a:ln w="25400">
            <a:solidFill>
              <a:srgbClr val="A31620"/>
            </a:solidFill>
            <a:miter lim="800000"/>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CD8DC9E-4E25-4C0C-9073-60C0A3F71185}"/>
              </a:ext>
            </a:extLst>
          </p:cNvPr>
          <p:cNvSpPr/>
          <p:nvPr/>
        </p:nvSpPr>
        <p:spPr>
          <a:xfrm>
            <a:off x="2167649" y="1800371"/>
            <a:ext cx="9007831" cy="1061253"/>
          </a:xfrm>
          <a:prstGeom prst="rect">
            <a:avLst/>
          </a:prstGeom>
        </p:spPr>
        <p:txBody>
          <a:bodyPr wrap="square">
            <a:spAutoFit/>
          </a:bodyPr>
          <a:lstStyle/>
          <a:p>
            <a:pPr marL="285750" indent="-285750">
              <a:lnSpc>
                <a:spcPct val="120000"/>
              </a:lnSpc>
              <a:buFont typeface="Wingdings" panose="05000000000000000000" pitchFamily="2" charset="2"/>
              <a:buChar char="Ø"/>
            </a:pPr>
            <a:r>
              <a:rPr lang="en-US"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型炎症皮肤病是指一系列和过敏相关，以</a:t>
            </a:r>
            <a:r>
              <a:rPr lang="en-US"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型炎症为发生机制的疾病，包括</a:t>
            </a:r>
            <a:r>
              <a:rPr lang="zh-CN"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皮炎</a:t>
            </a:r>
            <a:r>
              <a:rPr lang="en-US"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湿疹、荨麻疹、类天疱疮、结节性痒疹</a:t>
            </a: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等</a:t>
            </a:r>
            <a:endParaRPr lang="en-US"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lnSpc>
                <a:spcPct val="120000"/>
              </a:lnSpc>
              <a:buFont typeface="Wingdings" panose="05000000000000000000" pitchFamily="2" charset="2"/>
              <a:buChar char="Ø"/>
            </a:pP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患者发病率高，愈后较差，严重危害人们的</a:t>
            </a:r>
            <a:r>
              <a:rPr lang="zh-CN"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身体健康</a:t>
            </a: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和</a:t>
            </a:r>
            <a:r>
              <a:rPr lang="zh-CN"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生存质量</a:t>
            </a:r>
            <a:endParaRPr lang="en-US" altLang="zh-CN"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Rectangle 19">
            <a:extLst>
              <a:ext uri="{FF2B5EF4-FFF2-40B4-BE49-F238E27FC236}">
                <a16:creationId xmlns:a16="http://schemas.microsoft.com/office/drawing/2014/main" id="{7A6B0D7B-3A44-4706-BA46-5ECBBB7E1E73}"/>
              </a:ext>
            </a:extLst>
          </p:cNvPr>
          <p:cNvSpPr/>
          <p:nvPr/>
        </p:nvSpPr>
        <p:spPr>
          <a:xfrm>
            <a:off x="949404" y="1592310"/>
            <a:ext cx="1107996" cy="369332"/>
          </a:xfrm>
          <a:prstGeom prst="rect">
            <a:avLst/>
          </a:prstGeom>
        </p:spPr>
        <p:txBody>
          <a:bodyPr wrap="none">
            <a:spAutoFit/>
          </a:bodyPr>
          <a:lstStyle/>
          <a:p>
            <a:r>
              <a:rPr lang="zh-CN" altLang="en-US"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疾病负担</a:t>
            </a:r>
          </a:p>
        </p:txBody>
      </p:sp>
      <p:grpSp>
        <p:nvGrpSpPr>
          <p:cNvPr id="28" name="Group 27">
            <a:extLst>
              <a:ext uri="{FF2B5EF4-FFF2-40B4-BE49-F238E27FC236}">
                <a16:creationId xmlns:a16="http://schemas.microsoft.com/office/drawing/2014/main" id="{68A3909C-D5D4-42EA-B807-F600ABBADACA}"/>
              </a:ext>
            </a:extLst>
          </p:cNvPr>
          <p:cNvGrpSpPr/>
          <p:nvPr/>
        </p:nvGrpSpPr>
        <p:grpSpPr>
          <a:xfrm>
            <a:off x="1059358" y="3497959"/>
            <a:ext cx="871906" cy="841581"/>
            <a:chOff x="440233" y="3391800"/>
            <a:chExt cx="871906" cy="841581"/>
          </a:xfrm>
          <a:effectLst>
            <a:reflection blurRad="6350" stA="50000" endA="300" endPos="55000" dir="5400000" sy="-100000" algn="bl" rotWithShape="0"/>
          </a:effectLst>
        </p:grpSpPr>
        <p:sp>
          <p:nvSpPr>
            <p:cNvPr id="22" name="Rounded Rectangle 195">
              <a:extLst>
                <a:ext uri="{FF2B5EF4-FFF2-40B4-BE49-F238E27FC236}">
                  <a16:creationId xmlns:a16="http://schemas.microsoft.com/office/drawing/2014/main" id="{AFB11141-F2BD-4C63-BD35-D626526EEB9E}"/>
                </a:ext>
              </a:extLst>
            </p:cNvPr>
            <p:cNvSpPr/>
            <p:nvPr/>
          </p:nvSpPr>
          <p:spPr>
            <a:xfrm>
              <a:off x="440233" y="3391800"/>
              <a:ext cx="871906" cy="841581"/>
            </a:xfrm>
            <a:prstGeom prst="roundRect">
              <a:avLst/>
            </a:prstGeom>
            <a:solidFill>
              <a:srgbClr val="A31620"/>
            </a:solidFill>
            <a:ln w="25400" cap="flat" cmpd="sng" algn="ctr">
              <a:noFill/>
              <a:prstDash val="solid"/>
            </a:ln>
            <a:effectLst/>
          </p:spPr>
          <p:txBody>
            <a:bodyPr lIns="45720" rIns="45720" rtlCol="0" anchor="ctr" anchorCtr="0">
              <a:noAutofit/>
            </a:bodyPr>
            <a:lstStyle>
              <a:defPPr>
                <a:defRPr lang="en-US"/>
              </a:defPPr>
              <a:lvl1pPr marL="0" algn="l" defTabSz="914241" rtl="0" eaLnBrk="1" latinLnBrk="0" hangingPunct="1">
                <a:defRPr sz="1900" kern="1200">
                  <a:solidFill>
                    <a:schemeClr val="tx1"/>
                  </a:solidFill>
                  <a:latin typeface="+mn-lt"/>
                  <a:ea typeface="+mn-ea"/>
                  <a:cs typeface="+mn-cs"/>
                </a:defRPr>
              </a:lvl1pPr>
              <a:lvl2pPr marL="457119" algn="l" defTabSz="914241" rtl="0" eaLnBrk="1" latinLnBrk="0" hangingPunct="1">
                <a:defRPr sz="1900" kern="1200">
                  <a:solidFill>
                    <a:schemeClr val="tx1"/>
                  </a:solidFill>
                  <a:latin typeface="+mn-lt"/>
                  <a:ea typeface="+mn-ea"/>
                  <a:cs typeface="+mn-cs"/>
                </a:defRPr>
              </a:lvl2pPr>
              <a:lvl3pPr marL="914241" algn="l" defTabSz="914241" rtl="0" eaLnBrk="1" latinLnBrk="0" hangingPunct="1">
                <a:defRPr sz="1900" kern="1200">
                  <a:solidFill>
                    <a:schemeClr val="tx1"/>
                  </a:solidFill>
                  <a:latin typeface="+mn-lt"/>
                  <a:ea typeface="+mn-ea"/>
                  <a:cs typeface="+mn-cs"/>
                </a:defRPr>
              </a:lvl3pPr>
              <a:lvl4pPr marL="1371362" algn="l" defTabSz="914241" rtl="0" eaLnBrk="1" latinLnBrk="0" hangingPunct="1">
                <a:defRPr sz="1900" kern="1200">
                  <a:solidFill>
                    <a:schemeClr val="tx1"/>
                  </a:solidFill>
                  <a:latin typeface="+mn-lt"/>
                  <a:ea typeface="+mn-ea"/>
                  <a:cs typeface="+mn-cs"/>
                </a:defRPr>
              </a:lvl4pPr>
              <a:lvl5pPr marL="1828482" algn="l" defTabSz="914241" rtl="0" eaLnBrk="1" latinLnBrk="0" hangingPunct="1">
                <a:defRPr sz="1900" kern="1200">
                  <a:solidFill>
                    <a:schemeClr val="tx1"/>
                  </a:solidFill>
                  <a:latin typeface="+mn-lt"/>
                  <a:ea typeface="+mn-ea"/>
                  <a:cs typeface="+mn-cs"/>
                </a:defRPr>
              </a:lvl5pPr>
              <a:lvl6pPr marL="2285606" algn="l" defTabSz="914241" rtl="0" eaLnBrk="1" latinLnBrk="0" hangingPunct="1">
                <a:defRPr sz="1900" kern="1200">
                  <a:solidFill>
                    <a:schemeClr val="tx1"/>
                  </a:solidFill>
                  <a:latin typeface="+mn-lt"/>
                  <a:ea typeface="+mn-ea"/>
                  <a:cs typeface="+mn-cs"/>
                </a:defRPr>
              </a:lvl6pPr>
              <a:lvl7pPr marL="2742722" algn="l" defTabSz="914241" rtl="0" eaLnBrk="1" latinLnBrk="0" hangingPunct="1">
                <a:defRPr sz="1900" kern="1200">
                  <a:solidFill>
                    <a:schemeClr val="tx1"/>
                  </a:solidFill>
                  <a:latin typeface="+mn-lt"/>
                  <a:ea typeface="+mn-ea"/>
                  <a:cs typeface="+mn-cs"/>
                </a:defRPr>
              </a:lvl7pPr>
              <a:lvl8pPr marL="3199840" algn="l" defTabSz="914241" rtl="0" eaLnBrk="1" latinLnBrk="0" hangingPunct="1">
                <a:defRPr sz="1900" kern="1200">
                  <a:solidFill>
                    <a:schemeClr val="tx1"/>
                  </a:solidFill>
                  <a:latin typeface="+mn-lt"/>
                  <a:ea typeface="+mn-ea"/>
                  <a:cs typeface="+mn-cs"/>
                </a:defRPr>
              </a:lvl8pPr>
            </a:lstStyle>
            <a:p>
              <a:pPr algn="ctr">
                <a:defRPr/>
              </a:pPr>
              <a:endParaRPr lang="en-GB">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7" name="Picture 2">
              <a:extLst>
                <a:ext uri="{FF2B5EF4-FFF2-40B4-BE49-F238E27FC236}">
                  <a16:creationId xmlns:a16="http://schemas.microsoft.com/office/drawing/2014/main" id="{E58ECD3E-26D2-4B09-87B5-277BEEA654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p:blipFill>
          <p:spPr>
            <a:xfrm>
              <a:off x="532580" y="3472948"/>
              <a:ext cx="687211" cy="663308"/>
            </a:xfrm>
            <a:prstGeom prst="rect">
              <a:avLst/>
            </a:prstGeom>
            <a:solidFill>
              <a:srgbClr val="A31620"/>
            </a:solidFill>
          </p:spPr>
        </p:pic>
      </p:grpSp>
      <p:sp>
        <p:nvSpPr>
          <p:cNvPr id="29" name="Rectangle 28">
            <a:extLst>
              <a:ext uri="{FF2B5EF4-FFF2-40B4-BE49-F238E27FC236}">
                <a16:creationId xmlns:a16="http://schemas.microsoft.com/office/drawing/2014/main" id="{4D184129-E848-44AE-9E3E-34FA9A950AFE}"/>
              </a:ext>
            </a:extLst>
          </p:cNvPr>
          <p:cNvSpPr/>
          <p:nvPr/>
        </p:nvSpPr>
        <p:spPr>
          <a:xfrm>
            <a:off x="2556658" y="4144247"/>
            <a:ext cx="4207690" cy="369332"/>
          </a:xfrm>
          <a:prstGeom prst="rect">
            <a:avLst/>
          </a:prstGeom>
        </p:spPr>
        <p:txBody>
          <a:bodyPr wrap="square">
            <a:spAutoFit/>
          </a:bodyPr>
          <a:lstStyle/>
          <a:p>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国家皮肤</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与免疫</a:t>
            </a:r>
            <a:r>
              <a:rPr lang="zh-CN"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疾病临床医学研究中心</a:t>
            </a:r>
            <a:endParaRPr lang="en-US" altLang="zh-CN"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 name="Rectangle 30">
            <a:extLst>
              <a:ext uri="{FF2B5EF4-FFF2-40B4-BE49-F238E27FC236}">
                <a16:creationId xmlns:a16="http://schemas.microsoft.com/office/drawing/2014/main" id="{1C8A427A-5A67-4E55-88E7-48EF0CCA4A6A}"/>
              </a:ext>
            </a:extLst>
          </p:cNvPr>
          <p:cNvSpPr/>
          <p:nvPr/>
        </p:nvSpPr>
        <p:spPr>
          <a:xfrm>
            <a:off x="925494" y="3196564"/>
            <a:ext cx="1107996" cy="369332"/>
          </a:xfrm>
          <a:prstGeom prst="rect">
            <a:avLst/>
          </a:prstGeom>
        </p:spPr>
        <p:txBody>
          <a:bodyPr wrap="none">
            <a:spAutoFit/>
          </a:bodyPr>
          <a:lstStyle/>
          <a:p>
            <a:r>
              <a:rPr lang="zh-CN" altLang="en-US"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牵头单位</a:t>
            </a:r>
          </a:p>
        </p:txBody>
      </p:sp>
      <p:sp>
        <p:nvSpPr>
          <p:cNvPr id="35" name="Rounded Rectangle 195">
            <a:extLst>
              <a:ext uri="{FF2B5EF4-FFF2-40B4-BE49-F238E27FC236}">
                <a16:creationId xmlns:a16="http://schemas.microsoft.com/office/drawing/2014/main" id="{A026E938-1B81-483A-974C-4CBE7B9B416B}"/>
              </a:ext>
            </a:extLst>
          </p:cNvPr>
          <p:cNvSpPr/>
          <p:nvPr/>
        </p:nvSpPr>
        <p:spPr>
          <a:xfrm>
            <a:off x="1028099" y="5130923"/>
            <a:ext cx="871906" cy="841581"/>
          </a:xfrm>
          <a:prstGeom prst="roundRect">
            <a:avLst/>
          </a:prstGeom>
          <a:solidFill>
            <a:srgbClr val="A31620"/>
          </a:solidFill>
          <a:ln w="25400" cap="flat" cmpd="sng" algn="ctr">
            <a:noFill/>
            <a:prstDash val="solid"/>
          </a:ln>
          <a:effectLst>
            <a:reflection blurRad="6350" stA="50000" endA="300" endPos="55000" dir="5400000" sy="-100000" algn="bl" rotWithShape="0"/>
          </a:effectLst>
        </p:spPr>
        <p:txBody>
          <a:bodyPr lIns="45720" rIns="45720" rtlCol="0" anchor="ctr" anchorCtr="0">
            <a:noAutofit/>
          </a:bodyPr>
          <a:lstStyle>
            <a:defPPr>
              <a:defRPr lang="en-US"/>
            </a:defPPr>
            <a:lvl1pPr marL="0" algn="l" defTabSz="914241" rtl="0" eaLnBrk="1" latinLnBrk="0" hangingPunct="1">
              <a:defRPr sz="1900" kern="1200">
                <a:solidFill>
                  <a:schemeClr val="tx1"/>
                </a:solidFill>
                <a:latin typeface="+mn-lt"/>
                <a:ea typeface="+mn-ea"/>
                <a:cs typeface="+mn-cs"/>
              </a:defRPr>
            </a:lvl1pPr>
            <a:lvl2pPr marL="457119" algn="l" defTabSz="914241" rtl="0" eaLnBrk="1" latinLnBrk="0" hangingPunct="1">
              <a:defRPr sz="1900" kern="1200">
                <a:solidFill>
                  <a:schemeClr val="tx1"/>
                </a:solidFill>
                <a:latin typeface="+mn-lt"/>
                <a:ea typeface="+mn-ea"/>
                <a:cs typeface="+mn-cs"/>
              </a:defRPr>
            </a:lvl2pPr>
            <a:lvl3pPr marL="914241" algn="l" defTabSz="914241" rtl="0" eaLnBrk="1" latinLnBrk="0" hangingPunct="1">
              <a:defRPr sz="1900" kern="1200">
                <a:solidFill>
                  <a:schemeClr val="tx1"/>
                </a:solidFill>
                <a:latin typeface="+mn-lt"/>
                <a:ea typeface="+mn-ea"/>
                <a:cs typeface="+mn-cs"/>
              </a:defRPr>
            </a:lvl3pPr>
            <a:lvl4pPr marL="1371362" algn="l" defTabSz="914241" rtl="0" eaLnBrk="1" latinLnBrk="0" hangingPunct="1">
              <a:defRPr sz="1900" kern="1200">
                <a:solidFill>
                  <a:schemeClr val="tx1"/>
                </a:solidFill>
                <a:latin typeface="+mn-lt"/>
                <a:ea typeface="+mn-ea"/>
                <a:cs typeface="+mn-cs"/>
              </a:defRPr>
            </a:lvl4pPr>
            <a:lvl5pPr marL="1828482" algn="l" defTabSz="914241" rtl="0" eaLnBrk="1" latinLnBrk="0" hangingPunct="1">
              <a:defRPr sz="1900" kern="1200">
                <a:solidFill>
                  <a:schemeClr val="tx1"/>
                </a:solidFill>
                <a:latin typeface="+mn-lt"/>
                <a:ea typeface="+mn-ea"/>
                <a:cs typeface="+mn-cs"/>
              </a:defRPr>
            </a:lvl5pPr>
            <a:lvl6pPr marL="2285606" algn="l" defTabSz="914241" rtl="0" eaLnBrk="1" latinLnBrk="0" hangingPunct="1">
              <a:defRPr sz="1900" kern="1200">
                <a:solidFill>
                  <a:schemeClr val="tx1"/>
                </a:solidFill>
                <a:latin typeface="+mn-lt"/>
                <a:ea typeface="+mn-ea"/>
                <a:cs typeface="+mn-cs"/>
              </a:defRPr>
            </a:lvl6pPr>
            <a:lvl7pPr marL="2742722" algn="l" defTabSz="914241" rtl="0" eaLnBrk="1" latinLnBrk="0" hangingPunct="1">
              <a:defRPr sz="1900" kern="1200">
                <a:solidFill>
                  <a:schemeClr val="tx1"/>
                </a:solidFill>
                <a:latin typeface="+mn-lt"/>
                <a:ea typeface="+mn-ea"/>
                <a:cs typeface="+mn-cs"/>
              </a:defRPr>
            </a:lvl7pPr>
            <a:lvl8pPr marL="3199840" algn="l" defTabSz="914241" rtl="0" eaLnBrk="1" latinLnBrk="0" hangingPunct="1">
              <a:defRPr sz="1900" kern="1200">
                <a:solidFill>
                  <a:schemeClr val="tx1"/>
                </a:solidFill>
                <a:latin typeface="+mn-lt"/>
                <a:ea typeface="+mn-ea"/>
                <a:cs typeface="+mn-cs"/>
              </a:defRPr>
            </a:lvl8pPr>
          </a:lstStyle>
          <a:p>
            <a:pPr algn="ctr">
              <a:defRPr/>
            </a:pPr>
            <a:endParaRPr lang="en-GB"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Rectangle 36">
            <a:extLst>
              <a:ext uri="{FF2B5EF4-FFF2-40B4-BE49-F238E27FC236}">
                <a16:creationId xmlns:a16="http://schemas.microsoft.com/office/drawing/2014/main" id="{3BDD4333-2AD8-4C6E-9D49-E86BEDC8B7A5}"/>
              </a:ext>
            </a:extLst>
          </p:cNvPr>
          <p:cNvSpPr/>
          <p:nvPr/>
        </p:nvSpPr>
        <p:spPr>
          <a:xfrm>
            <a:off x="933011" y="4778070"/>
            <a:ext cx="1107996" cy="369332"/>
          </a:xfrm>
          <a:prstGeom prst="rect">
            <a:avLst/>
          </a:prstGeom>
        </p:spPr>
        <p:txBody>
          <a:bodyPr wrap="none">
            <a:spAutoFit/>
          </a:bodyPr>
          <a:lstStyle/>
          <a:p>
            <a:r>
              <a:rPr lang="zh-CN" altLang="en-US" b="1"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核心策略</a:t>
            </a:r>
          </a:p>
        </p:txBody>
      </p:sp>
      <p:grpSp>
        <p:nvGrpSpPr>
          <p:cNvPr id="38" name="Group 37">
            <a:extLst>
              <a:ext uri="{FF2B5EF4-FFF2-40B4-BE49-F238E27FC236}">
                <a16:creationId xmlns:a16="http://schemas.microsoft.com/office/drawing/2014/main" id="{668BC69E-A1B1-4885-9A34-82F8766FE26E}"/>
              </a:ext>
            </a:extLst>
          </p:cNvPr>
          <p:cNvGrpSpPr>
            <a:grpSpLocks noChangeAspect="1"/>
          </p:cNvGrpSpPr>
          <p:nvPr/>
        </p:nvGrpSpPr>
        <p:grpSpPr>
          <a:xfrm>
            <a:off x="1291505" y="5272389"/>
            <a:ext cx="407609" cy="407609"/>
            <a:chOff x="11045825" y="2247900"/>
            <a:chExt cx="258763" cy="258763"/>
          </a:xfrm>
          <a:solidFill>
            <a:schemeClr val="bg1"/>
          </a:solidFill>
        </p:grpSpPr>
        <p:sp>
          <p:nvSpPr>
            <p:cNvPr id="39" name="Freeform 207">
              <a:extLst>
                <a:ext uri="{FF2B5EF4-FFF2-40B4-BE49-F238E27FC236}">
                  <a16:creationId xmlns:a16="http://schemas.microsoft.com/office/drawing/2014/main" id="{6CCB4604-D259-41BD-B846-4169910EE8BD}"/>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0" name="Freeform 208">
              <a:extLst>
                <a:ext uri="{FF2B5EF4-FFF2-40B4-BE49-F238E27FC236}">
                  <a16:creationId xmlns:a16="http://schemas.microsoft.com/office/drawing/2014/main" id="{2C8A7367-4CD7-48EE-8A63-211F7F3865A9}"/>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1" name="Freeform 209">
              <a:extLst>
                <a:ext uri="{FF2B5EF4-FFF2-40B4-BE49-F238E27FC236}">
                  <a16:creationId xmlns:a16="http://schemas.microsoft.com/office/drawing/2014/main" id="{DD40E4B4-0DD6-4E21-8BC6-7B504C7C7126}"/>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2" name="Freeform 210">
              <a:extLst>
                <a:ext uri="{FF2B5EF4-FFF2-40B4-BE49-F238E27FC236}">
                  <a16:creationId xmlns:a16="http://schemas.microsoft.com/office/drawing/2014/main" id="{22440A7F-DD70-4119-ACEF-0ADA8ADA90B8}"/>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3" name="Freeform 211">
              <a:extLst>
                <a:ext uri="{FF2B5EF4-FFF2-40B4-BE49-F238E27FC236}">
                  <a16:creationId xmlns:a16="http://schemas.microsoft.com/office/drawing/2014/main" id="{1109B159-B257-4972-AE8B-6D9C98067073}"/>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4" name="Freeform 212">
              <a:extLst>
                <a:ext uri="{FF2B5EF4-FFF2-40B4-BE49-F238E27FC236}">
                  <a16:creationId xmlns:a16="http://schemas.microsoft.com/office/drawing/2014/main" id="{8E7A85BA-0545-405C-B64C-B1CD78EC9DB5}"/>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Freeform 213">
              <a:extLst>
                <a:ext uri="{FF2B5EF4-FFF2-40B4-BE49-F238E27FC236}">
                  <a16:creationId xmlns:a16="http://schemas.microsoft.com/office/drawing/2014/main" id="{060FB08F-EFFB-4A25-BA5A-E2BA3AC17C1C}"/>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6" name="Freeform 214">
              <a:extLst>
                <a:ext uri="{FF2B5EF4-FFF2-40B4-BE49-F238E27FC236}">
                  <a16:creationId xmlns:a16="http://schemas.microsoft.com/office/drawing/2014/main" id="{74C852DE-0894-4AED-9223-C0E9453F9A3B}"/>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pic>
        <p:nvPicPr>
          <p:cNvPr id="7" name="Picture 6">
            <a:extLst>
              <a:ext uri="{FF2B5EF4-FFF2-40B4-BE49-F238E27FC236}">
                <a16:creationId xmlns:a16="http://schemas.microsoft.com/office/drawing/2014/main" id="{E957CC11-2F19-4AD0-8BE6-0BEE068D1B59}"/>
              </a:ext>
            </a:extLst>
          </p:cNvPr>
          <p:cNvPicPr>
            <a:picLocks noChangeAspect="1"/>
          </p:cNvPicPr>
          <p:nvPr/>
        </p:nvPicPr>
        <p:blipFill>
          <a:blip r:embed="rId9"/>
          <a:stretch>
            <a:fillRect/>
          </a:stretch>
        </p:blipFill>
        <p:spPr>
          <a:xfrm>
            <a:off x="3896137" y="3166891"/>
            <a:ext cx="1048573" cy="1027389"/>
          </a:xfrm>
          <a:prstGeom prst="rect">
            <a:avLst/>
          </a:prstGeom>
        </p:spPr>
      </p:pic>
    </p:spTree>
    <p:extLst>
      <p:ext uri="{BB962C8B-B14F-4D97-AF65-F5344CB8AC3E}">
        <p14:creationId xmlns:p14="http://schemas.microsoft.com/office/powerpoint/2010/main" val="1263449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314DC517-63BC-49A9-AC3F-B76A660BBF56}"/>
              </a:ext>
            </a:extLst>
          </p:cNvPr>
          <p:cNvGraphicFramePr>
            <a:graphicFrameLocks noChangeAspect="1"/>
          </p:cNvGraphicFramePr>
          <p:nvPr>
            <p:custDataLst>
              <p:tags r:id="rId1"/>
            </p:custDataLst>
            <p:extLst>
              <p:ext uri="{D42A27DB-BD31-4B8C-83A1-F6EECF244321}">
                <p14:modId xmlns:p14="http://schemas.microsoft.com/office/powerpoint/2010/main" val="164596471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59" name="Object 58" hidden="1">
                        <a:extLst>
                          <a:ext uri="{FF2B5EF4-FFF2-40B4-BE49-F238E27FC236}">
                            <a16:creationId xmlns:a16="http://schemas.microsoft.com/office/drawing/2014/main" id="{314DC517-63BC-49A9-AC3F-B76A660BBF56}"/>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8" name="TextBox 47">
            <a:extLst>
              <a:ext uri="{FF2B5EF4-FFF2-40B4-BE49-F238E27FC236}">
                <a16:creationId xmlns:a16="http://schemas.microsoft.com/office/drawing/2014/main" id="{D6AD6CB2-7FB6-4270-9E7E-96C28C4C72C5}"/>
              </a:ext>
            </a:extLst>
          </p:cNvPr>
          <p:cNvSpPr txBox="1"/>
          <p:nvPr/>
        </p:nvSpPr>
        <p:spPr>
          <a:xfrm>
            <a:off x="838200" y="1364839"/>
            <a:ext cx="10896599" cy="826508"/>
          </a:xfrm>
          <a:prstGeom prst="rect">
            <a:avLst/>
          </a:prstGeom>
          <a:noFill/>
          <a:ln>
            <a:solidFill>
              <a:srgbClr val="A31620"/>
            </a:solidFill>
          </a:ln>
        </p:spPr>
        <p:txBody>
          <a:bodyPr wrap="square" rtlCol="0">
            <a:spAutoFit/>
          </a:bodyPr>
          <a:lstStyle/>
          <a:p>
            <a:pPr marL="548640">
              <a:lnSpc>
                <a:spcPct val="125000"/>
              </a:lnSpc>
              <a:spcBef>
                <a:spcPts val="295"/>
              </a:spcBef>
            </a:pPr>
            <a:r>
              <a:rPr lang="zh-CN" altLang="en-US" sz="2000" dirty="0">
                <a:latin typeface="微软雅黑" panose="020B0503020204020204" pitchFamily="34" charset="-122"/>
                <a:ea typeface="微软雅黑" panose="020B0503020204020204" pitchFamily="34" charset="-122"/>
                <a:sym typeface="微软雅黑" panose="020B0503020204020204" pitchFamily="34" charset="-122"/>
              </a:rPr>
              <a:t>建立</a:t>
            </a:r>
            <a:r>
              <a:rPr lang="en-US" altLang="zh-CN" sz="2000"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000" dirty="0">
                <a:latin typeface="微软雅黑" panose="020B0503020204020204" pitchFamily="34" charset="-122"/>
                <a:ea typeface="微软雅黑" panose="020B0503020204020204" pitchFamily="34" charset="-122"/>
                <a:sym typeface="微软雅黑" panose="020B0503020204020204" pitchFamily="34" charset="-122"/>
              </a:rPr>
              <a:t>型炎症相关皮肤病全国协作网，从深度和广度全面提高皮肤科疾病的诊疗和科研能力。具体目标为以下三方面：</a:t>
            </a:r>
          </a:p>
        </p:txBody>
      </p:sp>
      <p:sp>
        <p:nvSpPr>
          <p:cNvPr id="2" name="Rectangle 1">
            <a:extLst>
              <a:ext uri="{FF2B5EF4-FFF2-40B4-BE49-F238E27FC236}">
                <a16:creationId xmlns:a16="http://schemas.microsoft.com/office/drawing/2014/main" id="{1DA73B11-AD77-47B3-BC99-B8B6EF5C803A}"/>
              </a:ext>
            </a:extLst>
          </p:cNvPr>
          <p:cNvSpPr/>
          <p:nvPr/>
        </p:nvSpPr>
        <p:spPr>
          <a:xfrm>
            <a:off x="0" y="3901955"/>
            <a:ext cx="12192000" cy="517977"/>
          </a:xfrm>
          <a:prstGeom prst="rect">
            <a:avLst/>
          </a:prstGeom>
          <a:gradFill flip="none" rotWithShape="1">
            <a:gsLst>
              <a:gs pos="26000">
                <a:schemeClr val="accent2">
                  <a:lumMod val="20000"/>
                  <a:lumOff val="80000"/>
                </a:schemeClr>
              </a:gs>
              <a:gs pos="55000">
                <a:schemeClr val="accent2">
                  <a:lumMod val="20000"/>
                  <a:lumOff val="80000"/>
                </a:schemeClr>
              </a:gs>
              <a:gs pos="100000">
                <a:schemeClr val="accent2">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 name="Oval 12">
            <a:extLst>
              <a:ext uri="{FF2B5EF4-FFF2-40B4-BE49-F238E27FC236}">
                <a16:creationId xmlns:a16="http://schemas.microsoft.com/office/drawing/2014/main" id="{C0A69C68-3E4F-4D56-956B-B920430BB514}"/>
              </a:ext>
            </a:extLst>
          </p:cNvPr>
          <p:cNvSpPr>
            <a:spLocks noChangeArrowheads="1"/>
          </p:cNvSpPr>
          <p:nvPr/>
        </p:nvSpPr>
        <p:spPr bwMode="auto">
          <a:xfrm>
            <a:off x="1219200" y="3698227"/>
            <a:ext cx="1226129" cy="1228096"/>
          </a:xfrm>
          <a:prstGeom prst="ellipse">
            <a:avLst/>
          </a:prstGeom>
          <a:noFill/>
          <a:ln w="15875" cap="flat">
            <a:solidFill>
              <a:srgbClr val="A31620"/>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Oval 11">
            <a:extLst>
              <a:ext uri="{FF2B5EF4-FFF2-40B4-BE49-F238E27FC236}">
                <a16:creationId xmlns:a16="http://schemas.microsoft.com/office/drawing/2014/main" id="{FD7E4B32-0FD4-406F-AC73-6EAAD4DCCDF5}"/>
              </a:ext>
            </a:extLst>
          </p:cNvPr>
          <p:cNvSpPr>
            <a:spLocks noChangeArrowheads="1"/>
          </p:cNvSpPr>
          <p:nvPr/>
        </p:nvSpPr>
        <p:spPr bwMode="auto">
          <a:xfrm>
            <a:off x="1340235" y="3819266"/>
            <a:ext cx="984051" cy="986020"/>
          </a:xfrm>
          <a:prstGeom prst="ellipse">
            <a:avLst/>
          </a:prstGeom>
          <a:solidFill>
            <a:schemeClr val="accent2"/>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solidFill>
                <a:schemeClr val="accent2"/>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5" name="Straight Connector 14">
            <a:extLst>
              <a:ext uri="{FF2B5EF4-FFF2-40B4-BE49-F238E27FC236}">
                <a16:creationId xmlns:a16="http://schemas.microsoft.com/office/drawing/2014/main" id="{CE27FEFD-4C16-4DE5-87F3-3232AEC8CECA}"/>
              </a:ext>
            </a:extLst>
          </p:cNvPr>
          <p:cNvCxnSpPr/>
          <p:nvPr/>
        </p:nvCxnSpPr>
        <p:spPr>
          <a:xfrm>
            <a:off x="1554736" y="2629957"/>
            <a:ext cx="0" cy="1128214"/>
          </a:xfrm>
          <a:prstGeom prst="line">
            <a:avLst/>
          </a:prstGeom>
          <a:ln>
            <a:solidFill>
              <a:srgbClr val="A3162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729F16-84D8-49F7-BFCF-7783A46D7C0C}"/>
              </a:ext>
            </a:extLst>
          </p:cNvPr>
          <p:cNvCxnSpPr/>
          <p:nvPr/>
        </p:nvCxnSpPr>
        <p:spPr>
          <a:xfrm>
            <a:off x="5019031" y="4850335"/>
            <a:ext cx="0" cy="1137611"/>
          </a:xfrm>
          <a:prstGeom prst="line">
            <a:avLst/>
          </a:prstGeom>
          <a:ln>
            <a:solidFill>
              <a:srgbClr val="A3162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624F305F-2050-4275-B141-3CBDE08AAF4F}"/>
              </a:ext>
            </a:extLst>
          </p:cNvPr>
          <p:cNvSpPr>
            <a:spLocks noChangeArrowheads="1"/>
          </p:cNvSpPr>
          <p:nvPr/>
        </p:nvSpPr>
        <p:spPr bwMode="auto">
          <a:xfrm>
            <a:off x="4786087" y="3698227"/>
            <a:ext cx="1223176" cy="1228096"/>
          </a:xfrm>
          <a:prstGeom prst="ellipse">
            <a:avLst/>
          </a:prstGeom>
          <a:noFill/>
          <a:ln w="15875" cap="flat">
            <a:solidFill>
              <a:srgbClr val="A31620"/>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Oval 15">
            <a:extLst>
              <a:ext uri="{FF2B5EF4-FFF2-40B4-BE49-F238E27FC236}">
                <a16:creationId xmlns:a16="http://schemas.microsoft.com/office/drawing/2014/main" id="{376606F2-183C-410B-AC9B-EF09B2D6F3C3}"/>
              </a:ext>
            </a:extLst>
          </p:cNvPr>
          <p:cNvSpPr>
            <a:spLocks noChangeArrowheads="1"/>
          </p:cNvSpPr>
          <p:nvPr/>
        </p:nvSpPr>
        <p:spPr bwMode="auto">
          <a:xfrm>
            <a:off x="4904170" y="3819266"/>
            <a:ext cx="984051" cy="986020"/>
          </a:xfrm>
          <a:prstGeom prst="ellipse">
            <a:avLst/>
          </a:prstGeom>
          <a:solidFill>
            <a:schemeClr val="accent2"/>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a:solidFill>
                <a:schemeClr val="accent2"/>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Rectangle 25">
            <a:extLst>
              <a:ext uri="{FF2B5EF4-FFF2-40B4-BE49-F238E27FC236}">
                <a16:creationId xmlns:a16="http://schemas.microsoft.com/office/drawing/2014/main" id="{C9BBCD2C-CB93-45D1-92F8-1B7339D6F28D}"/>
              </a:ext>
            </a:extLst>
          </p:cNvPr>
          <p:cNvSpPr/>
          <p:nvPr/>
        </p:nvSpPr>
        <p:spPr>
          <a:xfrm>
            <a:off x="1736729" y="2532895"/>
            <a:ext cx="3653227" cy="1264449"/>
          </a:xfrm>
          <a:prstGeom prst="rect">
            <a:avLst/>
          </a:prstGeom>
        </p:spPr>
        <p:txBody>
          <a:bodyPr wrap="square">
            <a:spAutoFit/>
          </a:bodyPr>
          <a:lstStyle/>
          <a:p>
            <a:pPr marL="285750" indent="-285750" defTabSz="685800">
              <a:spcAft>
                <a:spcPts val="450"/>
              </a:spcAft>
              <a:buFont typeface="Arial" panose="020B0604020202020204" pitchFamily="34" charset="0"/>
              <a:buChar char="•"/>
              <a:defRP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首批建立至少</a:t>
            </a:r>
            <a:r>
              <a:rPr lang="en-US" altLang="zh-CN" b="1"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100</a:t>
            </a:r>
            <a:r>
              <a:rPr lang="zh-CN" altLang="en-US" b="1"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家</a:t>
            </a: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符合标准的</a:t>
            </a:r>
            <a:r>
              <a:rPr lang="en-US"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2</a:t>
            </a:r>
            <a:r>
              <a:rPr lang="zh-CN" altLang="en-US"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型炎症皮肤病协作单位</a:t>
            </a:r>
            <a:endParaRPr lang="en-US"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marL="285750" indent="-285750" defTabSz="685800">
              <a:spcAft>
                <a:spcPts val="450"/>
              </a:spcAft>
              <a:buFont typeface="Arial" panose="020B0604020202020204" pitchFamily="34" charset="0"/>
              <a:buChar char="•"/>
              <a:defRP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设置</a:t>
            </a:r>
            <a:r>
              <a:rPr lang="zh-CN" altLang="en-US"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评估体系</a:t>
            </a: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定期对协作单位做考核评估</a:t>
            </a:r>
          </a:p>
        </p:txBody>
      </p:sp>
      <p:sp>
        <p:nvSpPr>
          <p:cNvPr id="27" name="Rectangle 26">
            <a:extLst>
              <a:ext uri="{FF2B5EF4-FFF2-40B4-BE49-F238E27FC236}">
                <a16:creationId xmlns:a16="http://schemas.microsoft.com/office/drawing/2014/main" id="{CF32E6B4-92BF-46D4-B035-C7F6CED2F4FE}"/>
              </a:ext>
            </a:extLst>
          </p:cNvPr>
          <p:cNvSpPr/>
          <p:nvPr/>
        </p:nvSpPr>
        <p:spPr>
          <a:xfrm>
            <a:off x="5089555" y="4995619"/>
            <a:ext cx="4054439" cy="1264449"/>
          </a:xfrm>
          <a:prstGeom prst="rect">
            <a:avLst/>
          </a:prstGeom>
        </p:spPr>
        <p:txBody>
          <a:bodyPr wrap="square">
            <a:spAutoFit/>
          </a:bodyPr>
          <a:lstStyle/>
          <a:p>
            <a:pPr marL="285750" indent="-285750" defTabSz="685800">
              <a:spcAft>
                <a:spcPts val="450"/>
              </a:spcAft>
              <a:buFont typeface="Arial" panose="020B0604020202020204" pitchFamily="34" charset="0"/>
              <a:buChar char="•"/>
              <a:defRPr/>
            </a:pPr>
            <a:r>
              <a:rPr lang="zh-CN" altLang="zh-CN" dirty="0">
                <a:latin typeface="微软雅黑" panose="020B0503020204020204" pitchFamily="34" charset="-122"/>
                <a:ea typeface="微软雅黑" panose="020B0503020204020204" pitchFamily="34" charset="-122"/>
                <a:cs typeface="+mn-ea"/>
                <a:sym typeface="微软雅黑" panose="020B0503020204020204" pitchFamily="34" charset="-122"/>
              </a:rPr>
              <a:t>建设中国</a:t>
            </a:r>
            <a:r>
              <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rPr>
              <a:t>2</a:t>
            </a:r>
            <a:r>
              <a:rPr lang="zh-CN" altLang="zh-CN" dirty="0">
                <a:latin typeface="微软雅黑" panose="020B0503020204020204" pitchFamily="34" charset="-122"/>
                <a:ea typeface="微软雅黑" panose="020B0503020204020204" pitchFamily="34" charset="-122"/>
                <a:cs typeface="+mn-ea"/>
                <a:sym typeface="微软雅黑" panose="020B0503020204020204" pitchFamily="34" charset="-122"/>
              </a:rPr>
              <a:t>型炎症皮肤病临床诊疗</a:t>
            </a:r>
            <a:r>
              <a:rPr lang="zh-CN"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真实世界大数据</a:t>
            </a:r>
            <a:r>
              <a:rPr lang="zh-CN" altLang="zh-CN" dirty="0">
                <a:latin typeface="微软雅黑" panose="020B0503020204020204" pitchFamily="34" charset="-122"/>
                <a:ea typeface="微软雅黑" panose="020B0503020204020204" pitchFamily="34" charset="-122"/>
                <a:cs typeface="+mn-ea"/>
                <a:sym typeface="微软雅黑" panose="020B0503020204020204" pitchFamily="34" charset="-122"/>
              </a:rPr>
              <a:t>数据库，长期追踪患者生活质量、诊疗结果</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a:p>
            <a:pPr marL="285750" indent="-285750" defTabSz="685800">
              <a:spcAft>
                <a:spcPts val="450"/>
              </a:spcAft>
              <a:buFont typeface="Arial" panose="020B0604020202020204" pitchFamily="34" charset="0"/>
              <a:buChar char="•"/>
              <a:defRPr/>
            </a:pPr>
            <a:r>
              <a:rPr lang="zh-CN" altLang="zh-CN" dirty="0">
                <a:latin typeface="微软雅黑" panose="020B0503020204020204" pitchFamily="34" charset="-122"/>
                <a:ea typeface="微软雅黑" panose="020B0503020204020204" pitchFamily="34" charset="-122"/>
                <a:cs typeface="+mn-ea"/>
                <a:sym typeface="微软雅黑" panose="020B0503020204020204" pitchFamily="34" charset="-122"/>
              </a:rPr>
              <a:t>建立</a:t>
            </a:r>
            <a:r>
              <a:rPr lang="en-US"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2</a:t>
            </a:r>
            <a:r>
              <a:rPr lang="zh-CN"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型炎症皮肤病</a:t>
            </a:r>
            <a:r>
              <a:rPr lang="zh-CN" altLang="en-US"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均质化</a:t>
            </a:r>
            <a:r>
              <a:rPr lang="zh-CN" altLang="zh-CN" dirty="0">
                <a:solidFill>
                  <a:srgbClr val="A31620"/>
                </a:solidFill>
                <a:latin typeface="微软雅黑" panose="020B0503020204020204" pitchFamily="34" charset="-122"/>
                <a:ea typeface="微软雅黑" panose="020B0503020204020204" pitchFamily="34" charset="-122"/>
                <a:cs typeface="+mn-ea"/>
                <a:sym typeface="微软雅黑" panose="020B0503020204020204" pitchFamily="34" charset="-122"/>
              </a:rPr>
              <a:t>诊疗路径</a:t>
            </a:r>
            <a:endParaRPr lang="zh-CN"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28" name="Straight Connector 27">
            <a:extLst>
              <a:ext uri="{FF2B5EF4-FFF2-40B4-BE49-F238E27FC236}">
                <a16:creationId xmlns:a16="http://schemas.microsoft.com/office/drawing/2014/main" id="{0E0FBCDC-4E6C-4706-A242-1C5129FFACFD}"/>
              </a:ext>
            </a:extLst>
          </p:cNvPr>
          <p:cNvCxnSpPr>
            <a:cxnSpLocks/>
          </p:cNvCxnSpPr>
          <p:nvPr/>
        </p:nvCxnSpPr>
        <p:spPr>
          <a:xfrm flipV="1">
            <a:off x="8456918" y="2620465"/>
            <a:ext cx="0" cy="1158490"/>
          </a:xfrm>
          <a:prstGeom prst="line">
            <a:avLst/>
          </a:prstGeom>
          <a:ln>
            <a:solidFill>
              <a:srgbClr val="A3162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9" name="Oval 16">
            <a:extLst>
              <a:ext uri="{FF2B5EF4-FFF2-40B4-BE49-F238E27FC236}">
                <a16:creationId xmlns:a16="http://schemas.microsoft.com/office/drawing/2014/main" id="{4B15495B-E774-4C34-BB74-60D5DDB07F04}"/>
              </a:ext>
            </a:extLst>
          </p:cNvPr>
          <p:cNvSpPr>
            <a:spLocks noChangeArrowheads="1"/>
          </p:cNvSpPr>
          <p:nvPr/>
        </p:nvSpPr>
        <p:spPr bwMode="auto">
          <a:xfrm>
            <a:off x="8180172" y="3691972"/>
            <a:ext cx="1223176" cy="1228096"/>
          </a:xfrm>
          <a:prstGeom prst="ellipse">
            <a:avLst/>
          </a:prstGeom>
          <a:noFill/>
          <a:ln w="15875" cap="flat">
            <a:solidFill>
              <a:srgbClr val="A31620"/>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0" name="Oval 15">
            <a:extLst>
              <a:ext uri="{FF2B5EF4-FFF2-40B4-BE49-F238E27FC236}">
                <a16:creationId xmlns:a16="http://schemas.microsoft.com/office/drawing/2014/main" id="{96C782BA-832C-4094-85CB-A4DC59473903}"/>
              </a:ext>
            </a:extLst>
          </p:cNvPr>
          <p:cNvSpPr>
            <a:spLocks noChangeArrowheads="1"/>
          </p:cNvSpPr>
          <p:nvPr/>
        </p:nvSpPr>
        <p:spPr bwMode="auto">
          <a:xfrm>
            <a:off x="8298255" y="3810408"/>
            <a:ext cx="984051" cy="986020"/>
          </a:xfrm>
          <a:prstGeom prst="ellipse">
            <a:avLst/>
          </a:prstGeom>
          <a:solidFill>
            <a:schemeClr val="accent2"/>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a:solidFill>
                <a:schemeClr val="accent2"/>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Rectangle 32">
            <a:extLst>
              <a:ext uri="{FF2B5EF4-FFF2-40B4-BE49-F238E27FC236}">
                <a16:creationId xmlns:a16="http://schemas.microsoft.com/office/drawing/2014/main" id="{074467E7-316E-45FB-8877-BB39E6F2D399}"/>
              </a:ext>
            </a:extLst>
          </p:cNvPr>
          <p:cNvSpPr/>
          <p:nvPr/>
        </p:nvSpPr>
        <p:spPr>
          <a:xfrm>
            <a:off x="8592582" y="2495354"/>
            <a:ext cx="3227783" cy="1200329"/>
          </a:xfrm>
          <a:prstGeom prst="rect">
            <a:avLst/>
          </a:prstGeom>
        </p:spPr>
        <p:txBody>
          <a:bodyPr wrap="square">
            <a:spAutoFit/>
          </a:bodyPr>
          <a:lstStyle/>
          <a:p>
            <a:pPr marL="171450" indent="-171450">
              <a:buFont typeface="Arial" panose="020B0604020202020204" pitchFamily="34" charset="0"/>
              <a:buChar char="•"/>
            </a:pPr>
            <a:r>
              <a:rPr lang="zh-CN" altLang="zh-CN"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普及均质化诊疗路径</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通过技术培训和远程教学等途径</a:t>
            </a:r>
            <a:endParaRPr lang="en-US" altLang="zh-CN" dirty="0">
              <a:latin typeface="微软雅黑" panose="020B0503020204020204" pitchFamily="34" charset="-122"/>
              <a:ea typeface="微软雅黑" panose="020B0503020204020204" pitchFamily="34" charset="-122"/>
              <a:sym typeface="微软雅黑" panose="020B0503020204020204" pitchFamily="34" charset="-122"/>
            </a:endParaRPr>
          </a:p>
          <a:p>
            <a:pPr marL="171450" indent="-171450">
              <a:buFont typeface="Arial" panose="020B0604020202020204" pitchFamily="34" charset="0"/>
              <a:buChar char="•"/>
            </a:pP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提高中国</a:t>
            </a:r>
            <a:r>
              <a:rPr lang="en-US" altLang="zh-CN"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型炎症皮肤病的诊疗均质化水平</a:t>
            </a:r>
          </a:p>
        </p:txBody>
      </p:sp>
      <p:grpSp>
        <p:nvGrpSpPr>
          <p:cNvPr id="36" name="Group 35">
            <a:extLst>
              <a:ext uri="{FF2B5EF4-FFF2-40B4-BE49-F238E27FC236}">
                <a16:creationId xmlns:a16="http://schemas.microsoft.com/office/drawing/2014/main" id="{614D43ED-DBD9-4814-B1DC-7A97BCE8D780}"/>
              </a:ext>
            </a:extLst>
          </p:cNvPr>
          <p:cNvGrpSpPr/>
          <p:nvPr/>
        </p:nvGrpSpPr>
        <p:grpSpPr>
          <a:xfrm>
            <a:off x="1678663" y="4070629"/>
            <a:ext cx="446777" cy="441496"/>
            <a:chOff x="7859713" y="1079500"/>
            <a:chExt cx="3625850" cy="3651250"/>
          </a:xfrm>
          <a:solidFill>
            <a:schemeClr val="bg1"/>
          </a:solidFill>
        </p:grpSpPr>
        <p:sp>
          <p:nvSpPr>
            <p:cNvPr id="37" name="Freeform 14">
              <a:extLst>
                <a:ext uri="{FF2B5EF4-FFF2-40B4-BE49-F238E27FC236}">
                  <a16:creationId xmlns:a16="http://schemas.microsoft.com/office/drawing/2014/main" id="{A71E4836-7B94-402D-B8AD-EEB9FAF5C177}"/>
                </a:ext>
              </a:extLst>
            </p:cNvPr>
            <p:cNvSpPr>
              <a:spLocks noEditPoints="1"/>
            </p:cNvSpPr>
            <p:nvPr/>
          </p:nvSpPr>
          <p:spPr bwMode="auto">
            <a:xfrm>
              <a:off x="8120063" y="2708275"/>
              <a:ext cx="2022475" cy="2022475"/>
            </a:xfrm>
            <a:custGeom>
              <a:avLst/>
              <a:gdLst>
                <a:gd name="T0" fmla="*/ 0 w 538"/>
                <a:gd name="T1" fmla="*/ 258 h 538"/>
                <a:gd name="T2" fmla="*/ 0 w 538"/>
                <a:gd name="T3" fmla="*/ 266 h 538"/>
                <a:gd name="T4" fmla="*/ 0 w 538"/>
                <a:gd name="T5" fmla="*/ 269 h 538"/>
                <a:gd name="T6" fmla="*/ 269 w 538"/>
                <a:gd name="T7" fmla="*/ 538 h 538"/>
                <a:gd name="T8" fmla="*/ 538 w 538"/>
                <a:gd name="T9" fmla="*/ 269 h 538"/>
                <a:gd name="T10" fmla="*/ 270 w 538"/>
                <a:gd name="T11" fmla="*/ 0 h 538"/>
                <a:gd name="T12" fmla="*/ 246 w 538"/>
                <a:gd name="T13" fmla="*/ 0 h 538"/>
                <a:gd name="T14" fmla="*/ 246 w 538"/>
                <a:gd name="T15" fmla="*/ 235 h 538"/>
                <a:gd name="T16" fmla="*/ 1 w 538"/>
                <a:gd name="T17" fmla="*/ 235 h 538"/>
                <a:gd name="T18" fmla="*/ 0 w 538"/>
                <a:gd name="T19" fmla="*/ 258 h 538"/>
                <a:gd name="T20" fmla="*/ 136 w 538"/>
                <a:gd name="T21" fmla="*/ 445 h 538"/>
                <a:gd name="T22" fmla="*/ 265 w 538"/>
                <a:gd name="T23" fmla="*/ 299 h 538"/>
                <a:gd name="T24" fmla="*/ 363 w 538"/>
                <a:gd name="T25" fmla="*/ 469 h 538"/>
                <a:gd name="T26" fmla="*/ 269 w 538"/>
                <a:gd name="T27" fmla="*/ 490 h 538"/>
                <a:gd name="T28" fmla="*/ 136 w 538"/>
                <a:gd name="T29" fmla="*/ 445 h 538"/>
                <a:gd name="T30" fmla="*/ 490 w 538"/>
                <a:gd name="T31" fmla="*/ 269 h 538"/>
                <a:gd name="T32" fmla="*/ 404 w 538"/>
                <a:gd name="T33" fmla="*/ 444 h 538"/>
                <a:gd name="T34" fmla="*/ 294 w 538"/>
                <a:gd name="T35" fmla="*/ 254 h 538"/>
                <a:gd name="T36" fmla="*/ 294 w 538"/>
                <a:gd name="T37" fmla="*/ 50 h 538"/>
                <a:gd name="T38" fmla="*/ 490 w 538"/>
                <a:gd name="T39" fmla="*/ 269 h 538"/>
                <a:gd name="T40" fmla="*/ 215 w 538"/>
                <a:gd name="T41" fmla="*/ 283 h 538"/>
                <a:gd name="T42" fmla="*/ 101 w 538"/>
                <a:gd name="T43" fmla="*/ 412 h 538"/>
                <a:gd name="T44" fmla="*/ 49 w 538"/>
                <a:gd name="T45" fmla="*/ 283 h 538"/>
                <a:gd name="T46" fmla="*/ 215 w 538"/>
                <a:gd name="T47" fmla="*/ 283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538">
                  <a:moveTo>
                    <a:pt x="0" y="258"/>
                  </a:moveTo>
                  <a:cubicBezTo>
                    <a:pt x="0" y="261"/>
                    <a:pt x="0" y="263"/>
                    <a:pt x="0" y="266"/>
                  </a:cubicBezTo>
                  <a:cubicBezTo>
                    <a:pt x="0" y="267"/>
                    <a:pt x="0" y="268"/>
                    <a:pt x="0" y="269"/>
                  </a:cubicBezTo>
                  <a:cubicBezTo>
                    <a:pt x="0" y="417"/>
                    <a:pt x="121" y="538"/>
                    <a:pt x="269" y="538"/>
                  </a:cubicBezTo>
                  <a:cubicBezTo>
                    <a:pt x="417" y="538"/>
                    <a:pt x="538" y="417"/>
                    <a:pt x="538" y="269"/>
                  </a:cubicBezTo>
                  <a:cubicBezTo>
                    <a:pt x="538" y="122"/>
                    <a:pt x="418" y="1"/>
                    <a:pt x="270" y="0"/>
                  </a:cubicBezTo>
                  <a:cubicBezTo>
                    <a:pt x="246" y="0"/>
                    <a:pt x="246" y="0"/>
                    <a:pt x="246" y="0"/>
                  </a:cubicBezTo>
                  <a:cubicBezTo>
                    <a:pt x="246" y="235"/>
                    <a:pt x="246" y="235"/>
                    <a:pt x="246" y="235"/>
                  </a:cubicBezTo>
                  <a:cubicBezTo>
                    <a:pt x="1" y="235"/>
                    <a:pt x="1" y="235"/>
                    <a:pt x="1" y="235"/>
                  </a:cubicBezTo>
                  <a:lnTo>
                    <a:pt x="0" y="258"/>
                  </a:lnTo>
                  <a:close/>
                  <a:moveTo>
                    <a:pt x="136" y="445"/>
                  </a:moveTo>
                  <a:cubicBezTo>
                    <a:pt x="265" y="299"/>
                    <a:pt x="265" y="299"/>
                    <a:pt x="265" y="299"/>
                  </a:cubicBezTo>
                  <a:cubicBezTo>
                    <a:pt x="363" y="469"/>
                    <a:pt x="363" y="469"/>
                    <a:pt x="363" y="469"/>
                  </a:cubicBezTo>
                  <a:cubicBezTo>
                    <a:pt x="335" y="482"/>
                    <a:pt x="303" y="490"/>
                    <a:pt x="269" y="490"/>
                  </a:cubicBezTo>
                  <a:cubicBezTo>
                    <a:pt x="219" y="490"/>
                    <a:pt x="173" y="473"/>
                    <a:pt x="136" y="445"/>
                  </a:cubicBezTo>
                  <a:close/>
                  <a:moveTo>
                    <a:pt x="490" y="269"/>
                  </a:moveTo>
                  <a:cubicBezTo>
                    <a:pt x="490" y="340"/>
                    <a:pt x="456" y="403"/>
                    <a:pt x="404" y="444"/>
                  </a:cubicBezTo>
                  <a:cubicBezTo>
                    <a:pt x="294" y="254"/>
                    <a:pt x="294" y="254"/>
                    <a:pt x="294" y="254"/>
                  </a:cubicBezTo>
                  <a:cubicBezTo>
                    <a:pt x="294" y="50"/>
                    <a:pt x="294" y="50"/>
                    <a:pt x="294" y="50"/>
                  </a:cubicBezTo>
                  <a:cubicBezTo>
                    <a:pt x="404" y="62"/>
                    <a:pt x="490" y="156"/>
                    <a:pt x="490" y="269"/>
                  </a:cubicBezTo>
                  <a:close/>
                  <a:moveTo>
                    <a:pt x="215" y="283"/>
                  </a:moveTo>
                  <a:cubicBezTo>
                    <a:pt x="101" y="412"/>
                    <a:pt x="101" y="412"/>
                    <a:pt x="101" y="412"/>
                  </a:cubicBezTo>
                  <a:cubicBezTo>
                    <a:pt x="71" y="377"/>
                    <a:pt x="52" y="332"/>
                    <a:pt x="49" y="283"/>
                  </a:cubicBezTo>
                  <a:lnTo>
                    <a:pt x="215"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8" name="Freeform 15">
              <a:extLst>
                <a:ext uri="{FF2B5EF4-FFF2-40B4-BE49-F238E27FC236}">
                  <a16:creationId xmlns:a16="http://schemas.microsoft.com/office/drawing/2014/main" id="{F61257DB-82AF-4B8B-BBC2-0A5707EA45D0}"/>
                </a:ext>
              </a:extLst>
            </p:cNvPr>
            <p:cNvSpPr>
              <a:spLocks/>
            </p:cNvSpPr>
            <p:nvPr/>
          </p:nvSpPr>
          <p:spPr bwMode="auto">
            <a:xfrm>
              <a:off x="9040813" y="2527300"/>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9" name="Freeform 16">
              <a:extLst>
                <a:ext uri="{FF2B5EF4-FFF2-40B4-BE49-F238E27FC236}">
                  <a16:creationId xmlns:a16="http://schemas.microsoft.com/office/drawing/2014/main" id="{D03708E9-45B0-4682-AA03-78AB8D0261C0}"/>
                </a:ext>
              </a:extLst>
            </p:cNvPr>
            <p:cNvSpPr>
              <a:spLocks/>
            </p:cNvSpPr>
            <p:nvPr/>
          </p:nvSpPr>
          <p:spPr bwMode="auto">
            <a:xfrm>
              <a:off x="8018463" y="1079500"/>
              <a:ext cx="3467100" cy="3467100"/>
            </a:xfrm>
            <a:custGeom>
              <a:avLst/>
              <a:gdLst>
                <a:gd name="T0" fmla="*/ 181 w 922"/>
                <a:gd name="T1" fmla="*/ 0 h 922"/>
                <a:gd name="T2" fmla="*/ 0 w 922"/>
                <a:gd name="T3" fmla="*/ 181 h 922"/>
                <a:gd name="T4" fmla="*/ 129 w 922"/>
                <a:gd name="T5" fmla="*/ 309 h 922"/>
                <a:gd name="T6" fmla="*/ 191 w 922"/>
                <a:gd name="T7" fmla="*/ 303 h 922"/>
                <a:gd name="T8" fmla="*/ 68 w 922"/>
                <a:gd name="T9" fmla="*/ 181 h 922"/>
                <a:gd name="T10" fmla="*/ 181 w 922"/>
                <a:gd name="T11" fmla="*/ 68 h 922"/>
                <a:gd name="T12" fmla="*/ 213 w 922"/>
                <a:gd name="T13" fmla="*/ 101 h 922"/>
                <a:gd name="T14" fmla="*/ 184 w 922"/>
                <a:gd name="T15" fmla="*/ 130 h 922"/>
                <a:gd name="T16" fmla="*/ 218 w 922"/>
                <a:gd name="T17" fmla="*/ 164 h 922"/>
                <a:gd name="T18" fmla="*/ 247 w 922"/>
                <a:gd name="T19" fmla="*/ 134 h 922"/>
                <a:gd name="T20" fmla="*/ 285 w 922"/>
                <a:gd name="T21" fmla="*/ 172 h 922"/>
                <a:gd name="T22" fmla="*/ 229 w 922"/>
                <a:gd name="T23" fmla="*/ 229 h 922"/>
                <a:gd name="T24" fmla="*/ 263 w 922"/>
                <a:gd name="T25" fmla="*/ 263 h 922"/>
                <a:gd name="T26" fmla="*/ 319 w 922"/>
                <a:gd name="T27" fmla="*/ 206 h 922"/>
                <a:gd name="T28" fmla="*/ 357 w 922"/>
                <a:gd name="T29" fmla="*/ 244 h 922"/>
                <a:gd name="T30" fmla="*/ 328 w 922"/>
                <a:gd name="T31" fmla="*/ 274 h 922"/>
                <a:gd name="T32" fmla="*/ 362 w 922"/>
                <a:gd name="T33" fmla="*/ 308 h 922"/>
                <a:gd name="T34" fmla="*/ 391 w 922"/>
                <a:gd name="T35" fmla="*/ 278 h 922"/>
                <a:gd name="T36" fmla="*/ 429 w 922"/>
                <a:gd name="T37" fmla="*/ 316 h 922"/>
                <a:gd name="T38" fmla="*/ 399 w 922"/>
                <a:gd name="T39" fmla="*/ 345 h 922"/>
                <a:gd name="T40" fmla="*/ 433 w 922"/>
                <a:gd name="T41" fmla="*/ 379 h 922"/>
                <a:gd name="T42" fmla="*/ 463 w 922"/>
                <a:gd name="T43" fmla="*/ 350 h 922"/>
                <a:gd name="T44" fmla="*/ 500 w 922"/>
                <a:gd name="T45" fmla="*/ 387 h 922"/>
                <a:gd name="T46" fmla="*/ 469 w 922"/>
                <a:gd name="T47" fmla="*/ 417 h 922"/>
                <a:gd name="T48" fmla="*/ 502 w 922"/>
                <a:gd name="T49" fmla="*/ 452 h 922"/>
                <a:gd name="T50" fmla="*/ 534 w 922"/>
                <a:gd name="T51" fmla="*/ 421 h 922"/>
                <a:gd name="T52" fmla="*/ 572 w 922"/>
                <a:gd name="T53" fmla="*/ 459 h 922"/>
                <a:gd name="T54" fmla="*/ 543 w 922"/>
                <a:gd name="T55" fmla="*/ 489 h 922"/>
                <a:gd name="T56" fmla="*/ 577 w 922"/>
                <a:gd name="T57" fmla="*/ 523 h 922"/>
                <a:gd name="T58" fmla="*/ 606 w 922"/>
                <a:gd name="T59" fmla="*/ 493 h 922"/>
                <a:gd name="T60" fmla="*/ 644 w 922"/>
                <a:gd name="T61" fmla="*/ 531 h 922"/>
                <a:gd name="T62" fmla="*/ 615 w 922"/>
                <a:gd name="T63" fmla="*/ 561 h 922"/>
                <a:gd name="T64" fmla="*/ 649 w 922"/>
                <a:gd name="T65" fmla="*/ 595 h 922"/>
                <a:gd name="T66" fmla="*/ 678 w 922"/>
                <a:gd name="T67" fmla="*/ 565 h 922"/>
                <a:gd name="T68" fmla="*/ 716 w 922"/>
                <a:gd name="T69" fmla="*/ 603 h 922"/>
                <a:gd name="T70" fmla="*/ 660 w 922"/>
                <a:gd name="T71" fmla="*/ 659 h 922"/>
                <a:gd name="T72" fmla="*/ 694 w 922"/>
                <a:gd name="T73" fmla="*/ 693 h 922"/>
                <a:gd name="T74" fmla="*/ 750 w 922"/>
                <a:gd name="T75" fmla="*/ 637 h 922"/>
                <a:gd name="T76" fmla="*/ 788 w 922"/>
                <a:gd name="T77" fmla="*/ 675 h 922"/>
                <a:gd name="T78" fmla="*/ 758 w 922"/>
                <a:gd name="T79" fmla="*/ 704 h 922"/>
                <a:gd name="T80" fmla="*/ 792 w 922"/>
                <a:gd name="T81" fmla="*/ 738 h 922"/>
                <a:gd name="T82" fmla="*/ 822 w 922"/>
                <a:gd name="T83" fmla="*/ 709 h 922"/>
                <a:gd name="T84" fmla="*/ 854 w 922"/>
                <a:gd name="T85" fmla="*/ 741 h 922"/>
                <a:gd name="T86" fmla="*/ 742 w 922"/>
                <a:gd name="T87" fmla="*/ 854 h 922"/>
                <a:gd name="T88" fmla="*/ 612 w 922"/>
                <a:gd name="T89" fmla="*/ 724 h 922"/>
                <a:gd name="T90" fmla="*/ 602 w 922"/>
                <a:gd name="T91" fmla="*/ 783 h 922"/>
                <a:gd name="T92" fmla="*/ 742 w 922"/>
                <a:gd name="T93" fmla="*/ 922 h 922"/>
                <a:gd name="T94" fmla="*/ 922 w 922"/>
                <a:gd name="T95" fmla="*/ 741 h 922"/>
                <a:gd name="T96" fmla="*/ 181 w 922"/>
                <a:gd name="T97" fmla="*/ 0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22" h="922">
                  <a:moveTo>
                    <a:pt x="181" y="0"/>
                  </a:moveTo>
                  <a:cubicBezTo>
                    <a:pt x="0" y="181"/>
                    <a:pt x="0" y="181"/>
                    <a:pt x="0" y="181"/>
                  </a:cubicBezTo>
                  <a:cubicBezTo>
                    <a:pt x="129" y="309"/>
                    <a:pt x="129" y="309"/>
                    <a:pt x="129" y="309"/>
                  </a:cubicBezTo>
                  <a:cubicBezTo>
                    <a:pt x="149" y="305"/>
                    <a:pt x="169" y="303"/>
                    <a:pt x="191" y="303"/>
                  </a:cubicBezTo>
                  <a:cubicBezTo>
                    <a:pt x="68" y="181"/>
                    <a:pt x="68" y="181"/>
                    <a:pt x="68" y="181"/>
                  </a:cubicBezTo>
                  <a:cubicBezTo>
                    <a:pt x="181" y="68"/>
                    <a:pt x="181" y="68"/>
                    <a:pt x="181" y="68"/>
                  </a:cubicBezTo>
                  <a:cubicBezTo>
                    <a:pt x="213" y="101"/>
                    <a:pt x="213" y="101"/>
                    <a:pt x="213" y="101"/>
                  </a:cubicBezTo>
                  <a:cubicBezTo>
                    <a:pt x="184" y="130"/>
                    <a:pt x="184" y="130"/>
                    <a:pt x="184" y="130"/>
                  </a:cubicBezTo>
                  <a:cubicBezTo>
                    <a:pt x="218" y="164"/>
                    <a:pt x="218" y="164"/>
                    <a:pt x="218" y="164"/>
                  </a:cubicBezTo>
                  <a:cubicBezTo>
                    <a:pt x="247" y="134"/>
                    <a:pt x="247" y="134"/>
                    <a:pt x="247" y="134"/>
                  </a:cubicBezTo>
                  <a:cubicBezTo>
                    <a:pt x="285" y="172"/>
                    <a:pt x="285" y="172"/>
                    <a:pt x="285" y="172"/>
                  </a:cubicBezTo>
                  <a:cubicBezTo>
                    <a:pt x="229" y="229"/>
                    <a:pt x="229" y="229"/>
                    <a:pt x="229" y="229"/>
                  </a:cubicBezTo>
                  <a:cubicBezTo>
                    <a:pt x="263" y="263"/>
                    <a:pt x="263" y="263"/>
                    <a:pt x="263" y="263"/>
                  </a:cubicBezTo>
                  <a:cubicBezTo>
                    <a:pt x="319" y="206"/>
                    <a:pt x="319" y="206"/>
                    <a:pt x="319" y="206"/>
                  </a:cubicBezTo>
                  <a:cubicBezTo>
                    <a:pt x="357" y="244"/>
                    <a:pt x="357" y="244"/>
                    <a:pt x="357" y="244"/>
                  </a:cubicBezTo>
                  <a:cubicBezTo>
                    <a:pt x="328" y="274"/>
                    <a:pt x="328" y="274"/>
                    <a:pt x="328" y="274"/>
                  </a:cubicBezTo>
                  <a:cubicBezTo>
                    <a:pt x="362" y="308"/>
                    <a:pt x="362" y="308"/>
                    <a:pt x="362" y="308"/>
                  </a:cubicBezTo>
                  <a:cubicBezTo>
                    <a:pt x="391" y="278"/>
                    <a:pt x="391" y="278"/>
                    <a:pt x="391" y="278"/>
                  </a:cubicBezTo>
                  <a:cubicBezTo>
                    <a:pt x="429" y="316"/>
                    <a:pt x="429" y="316"/>
                    <a:pt x="429" y="316"/>
                  </a:cubicBezTo>
                  <a:cubicBezTo>
                    <a:pt x="399" y="345"/>
                    <a:pt x="399" y="345"/>
                    <a:pt x="399" y="345"/>
                  </a:cubicBezTo>
                  <a:cubicBezTo>
                    <a:pt x="433" y="379"/>
                    <a:pt x="433" y="379"/>
                    <a:pt x="433" y="379"/>
                  </a:cubicBezTo>
                  <a:cubicBezTo>
                    <a:pt x="463" y="350"/>
                    <a:pt x="463" y="350"/>
                    <a:pt x="463" y="350"/>
                  </a:cubicBezTo>
                  <a:cubicBezTo>
                    <a:pt x="500" y="387"/>
                    <a:pt x="500" y="387"/>
                    <a:pt x="500" y="387"/>
                  </a:cubicBezTo>
                  <a:cubicBezTo>
                    <a:pt x="469" y="417"/>
                    <a:pt x="469" y="417"/>
                    <a:pt x="469" y="417"/>
                  </a:cubicBezTo>
                  <a:cubicBezTo>
                    <a:pt x="502" y="452"/>
                    <a:pt x="502" y="452"/>
                    <a:pt x="502" y="452"/>
                  </a:cubicBezTo>
                  <a:cubicBezTo>
                    <a:pt x="534" y="421"/>
                    <a:pt x="534" y="421"/>
                    <a:pt x="534" y="421"/>
                  </a:cubicBezTo>
                  <a:cubicBezTo>
                    <a:pt x="572" y="459"/>
                    <a:pt x="572" y="459"/>
                    <a:pt x="572" y="459"/>
                  </a:cubicBezTo>
                  <a:cubicBezTo>
                    <a:pt x="543" y="489"/>
                    <a:pt x="543" y="489"/>
                    <a:pt x="543" y="489"/>
                  </a:cubicBezTo>
                  <a:cubicBezTo>
                    <a:pt x="577" y="523"/>
                    <a:pt x="577" y="523"/>
                    <a:pt x="577" y="523"/>
                  </a:cubicBezTo>
                  <a:cubicBezTo>
                    <a:pt x="606" y="493"/>
                    <a:pt x="606" y="493"/>
                    <a:pt x="606" y="493"/>
                  </a:cubicBezTo>
                  <a:cubicBezTo>
                    <a:pt x="644" y="531"/>
                    <a:pt x="644" y="531"/>
                    <a:pt x="644" y="531"/>
                  </a:cubicBezTo>
                  <a:cubicBezTo>
                    <a:pt x="615" y="561"/>
                    <a:pt x="615" y="561"/>
                    <a:pt x="615" y="561"/>
                  </a:cubicBezTo>
                  <a:cubicBezTo>
                    <a:pt x="649" y="595"/>
                    <a:pt x="649" y="595"/>
                    <a:pt x="649" y="595"/>
                  </a:cubicBezTo>
                  <a:cubicBezTo>
                    <a:pt x="678" y="565"/>
                    <a:pt x="678" y="565"/>
                    <a:pt x="678" y="565"/>
                  </a:cubicBezTo>
                  <a:cubicBezTo>
                    <a:pt x="716" y="603"/>
                    <a:pt x="716" y="603"/>
                    <a:pt x="716" y="603"/>
                  </a:cubicBezTo>
                  <a:cubicBezTo>
                    <a:pt x="660" y="659"/>
                    <a:pt x="660" y="659"/>
                    <a:pt x="660" y="659"/>
                  </a:cubicBezTo>
                  <a:cubicBezTo>
                    <a:pt x="694" y="693"/>
                    <a:pt x="694" y="693"/>
                    <a:pt x="694" y="693"/>
                  </a:cubicBezTo>
                  <a:cubicBezTo>
                    <a:pt x="750" y="637"/>
                    <a:pt x="750" y="637"/>
                    <a:pt x="750" y="637"/>
                  </a:cubicBezTo>
                  <a:cubicBezTo>
                    <a:pt x="788" y="675"/>
                    <a:pt x="788" y="675"/>
                    <a:pt x="788" y="675"/>
                  </a:cubicBezTo>
                  <a:cubicBezTo>
                    <a:pt x="758" y="704"/>
                    <a:pt x="758" y="704"/>
                    <a:pt x="758" y="704"/>
                  </a:cubicBezTo>
                  <a:cubicBezTo>
                    <a:pt x="792" y="738"/>
                    <a:pt x="792" y="738"/>
                    <a:pt x="792" y="738"/>
                  </a:cubicBezTo>
                  <a:cubicBezTo>
                    <a:pt x="822" y="709"/>
                    <a:pt x="822" y="709"/>
                    <a:pt x="822" y="709"/>
                  </a:cubicBezTo>
                  <a:cubicBezTo>
                    <a:pt x="854" y="741"/>
                    <a:pt x="854" y="741"/>
                    <a:pt x="854" y="741"/>
                  </a:cubicBezTo>
                  <a:cubicBezTo>
                    <a:pt x="742" y="854"/>
                    <a:pt x="742" y="854"/>
                    <a:pt x="742" y="854"/>
                  </a:cubicBezTo>
                  <a:cubicBezTo>
                    <a:pt x="612" y="724"/>
                    <a:pt x="612" y="724"/>
                    <a:pt x="612" y="724"/>
                  </a:cubicBezTo>
                  <a:cubicBezTo>
                    <a:pt x="610" y="744"/>
                    <a:pt x="607" y="764"/>
                    <a:pt x="602" y="783"/>
                  </a:cubicBezTo>
                  <a:cubicBezTo>
                    <a:pt x="742" y="922"/>
                    <a:pt x="742" y="922"/>
                    <a:pt x="742" y="922"/>
                  </a:cubicBezTo>
                  <a:cubicBezTo>
                    <a:pt x="922" y="741"/>
                    <a:pt x="922" y="741"/>
                    <a:pt x="922" y="741"/>
                  </a:cubicBezTo>
                  <a:lnTo>
                    <a:pt x="1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0" name="Freeform 17">
              <a:extLst>
                <a:ext uri="{FF2B5EF4-FFF2-40B4-BE49-F238E27FC236}">
                  <a16:creationId xmlns:a16="http://schemas.microsoft.com/office/drawing/2014/main" id="{43F772A9-F684-47DC-8606-C08154D2DBCF}"/>
                </a:ext>
              </a:extLst>
            </p:cNvPr>
            <p:cNvSpPr>
              <a:spLocks noEditPoints="1"/>
            </p:cNvSpPr>
            <p:nvPr/>
          </p:nvSpPr>
          <p:spPr bwMode="auto">
            <a:xfrm>
              <a:off x="7859713" y="2400300"/>
              <a:ext cx="1000125" cy="1000125"/>
            </a:xfrm>
            <a:custGeom>
              <a:avLst/>
              <a:gdLst>
                <a:gd name="T0" fmla="*/ 236 w 266"/>
                <a:gd name="T1" fmla="*/ 0 h 266"/>
                <a:gd name="T2" fmla="*/ 233 w 266"/>
                <a:gd name="T3" fmla="*/ 0 h 266"/>
                <a:gd name="T4" fmla="*/ 64 w 266"/>
                <a:gd name="T5" fmla="*/ 69 h 266"/>
                <a:gd name="T6" fmla="*/ 0 w 266"/>
                <a:gd name="T7" fmla="*/ 233 h 266"/>
                <a:gd name="T8" fmla="*/ 1 w 266"/>
                <a:gd name="T9" fmla="*/ 243 h 266"/>
                <a:gd name="T10" fmla="*/ 2 w 266"/>
                <a:gd name="T11" fmla="*/ 266 h 266"/>
                <a:gd name="T12" fmla="*/ 266 w 266"/>
                <a:gd name="T13" fmla="*/ 266 h 266"/>
                <a:gd name="T14" fmla="*/ 266 w 266"/>
                <a:gd name="T15" fmla="*/ 1 h 266"/>
                <a:gd name="T16" fmla="*/ 243 w 266"/>
                <a:gd name="T17" fmla="*/ 0 h 266"/>
                <a:gd name="T18" fmla="*/ 236 w 266"/>
                <a:gd name="T19" fmla="*/ 0 h 266"/>
                <a:gd name="T20" fmla="*/ 218 w 266"/>
                <a:gd name="T21" fmla="*/ 218 h 266"/>
                <a:gd name="T22" fmla="*/ 49 w 266"/>
                <a:gd name="T23" fmla="*/ 218 h 266"/>
                <a:gd name="T24" fmla="*/ 218 w 266"/>
                <a:gd name="T25" fmla="*/ 49 h 266"/>
                <a:gd name="T26" fmla="*/ 218 w 266"/>
                <a:gd name="T27" fmla="*/ 21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6" h="266">
                  <a:moveTo>
                    <a:pt x="236" y="0"/>
                  </a:moveTo>
                  <a:cubicBezTo>
                    <a:pt x="233" y="0"/>
                    <a:pt x="233" y="0"/>
                    <a:pt x="233" y="0"/>
                  </a:cubicBezTo>
                  <a:cubicBezTo>
                    <a:pt x="167" y="0"/>
                    <a:pt x="107" y="24"/>
                    <a:pt x="64" y="69"/>
                  </a:cubicBezTo>
                  <a:cubicBezTo>
                    <a:pt x="23" y="111"/>
                    <a:pt x="0" y="170"/>
                    <a:pt x="0" y="233"/>
                  </a:cubicBezTo>
                  <a:cubicBezTo>
                    <a:pt x="0" y="236"/>
                    <a:pt x="1" y="243"/>
                    <a:pt x="1" y="243"/>
                  </a:cubicBezTo>
                  <a:cubicBezTo>
                    <a:pt x="2" y="266"/>
                    <a:pt x="2" y="266"/>
                    <a:pt x="2" y="266"/>
                  </a:cubicBezTo>
                  <a:cubicBezTo>
                    <a:pt x="266" y="266"/>
                    <a:pt x="266" y="266"/>
                    <a:pt x="266" y="266"/>
                  </a:cubicBezTo>
                  <a:cubicBezTo>
                    <a:pt x="266" y="1"/>
                    <a:pt x="266" y="1"/>
                    <a:pt x="266" y="1"/>
                  </a:cubicBezTo>
                  <a:cubicBezTo>
                    <a:pt x="243" y="0"/>
                    <a:pt x="243" y="0"/>
                    <a:pt x="243" y="0"/>
                  </a:cubicBezTo>
                  <a:cubicBezTo>
                    <a:pt x="241" y="0"/>
                    <a:pt x="238" y="0"/>
                    <a:pt x="236" y="0"/>
                  </a:cubicBezTo>
                  <a:close/>
                  <a:moveTo>
                    <a:pt x="218" y="218"/>
                  </a:moveTo>
                  <a:cubicBezTo>
                    <a:pt x="49" y="218"/>
                    <a:pt x="49" y="218"/>
                    <a:pt x="49" y="218"/>
                  </a:cubicBezTo>
                  <a:cubicBezTo>
                    <a:pt x="56" y="124"/>
                    <a:pt x="124" y="55"/>
                    <a:pt x="218" y="49"/>
                  </a:cubicBezTo>
                  <a:lnTo>
                    <a:pt x="218"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nvGrpSpPr>
          <p:cNvPr id="41" name="Group 40">
            <a:extLst>
              <a:ext uri="{FF2B5EF4-FFF2-40B4-BE49-F238E27FC236}">
                <a16:creationId xmlns:a16="http://schemas.microsoft.com/office/drawing/2014/main" id="{84EB41E9-373C-45EB-9BF6-4730331423EA}"/>
              </a:ext>
            </a:extLst>
          </p:cNvPr>
          <p:cNvGrpSpPr/>
          <p:nvPr/>
        </p:nvGrpSpPr>
        <p:grpSpPr>
          <a:xfrm>
            <a:off x="935102" y="1502910"/>
            <a:ext cx="528585" cy="517977"/>
            <a:chOff x="7158038" y="1293813"/>
            <a:chExt cx="3368675" cy="3376613"/>
          </a:xfrm>
          <a:solidFill>
            <a:srgbClr val="A31620"/>
          </a:solidFill>
        </p:grpSpPr>
        <p:sp>
          <p:nvSpPr>
            <p:cNvPr id="42" name="Freeform 35">
              <a:extLst>
                <a:ext uri="{FF2B5EF4-FFF2-40B4-BE49-F238E27FC236}">
                  <a16:creationId xmlns:a16="http://schemas.microsoft.com/office/drawing/2014/main" id="{68ED1B68-F406-4BA2-89DE-4EB9B36BBAE6}"/>
                </a:ext>
              </a:extLst>
            </p:cNvPr>
            <p:cNvSpPr>
              <a:spLocks/>
            </p:cNvSpPr>
            <p:nvPr/>
          </p:nvSpPr>
          <p:spPr bwMode="auto">
            <a:xfrm>
              <a:off x="8763000" y="2813051"/>
              <a:ext cx="268288" cy="274638"/>
            </a:xfrm>
            <a:custGeom>
              <a:avLst/>
              <a:gdLst>
                <a:gd name="T0" fmla="*/ 19 w 71"/>
                <a:gd name="T1" fmla="*/ 0 h 73"/>
                <a:gd name="T2" fmla="*/ 0 w 71"/>
                <a:gd name="T3" fmla="*/ 46 h 73"/>
                <a:gd name="T4" fmla="*/ 26 w 71"/>
                <a:gd name="T5" fmla="*/ 73 h 73"/>
                <a:gd name="T6" fmla="*/ 71 w 71"/>
                <a:gd name="T7" fmla="*/ 54 h 73"/>
                <a:gd name="T8" fmla="*/ 19 w 71"/>
                <a:gd name="T9" fmla="*/ 0 h 73"/>
              </a:gdLst>
              <a:ahLst/>
              <a:cxnLst>
                <a:cxn ang="0">
                  <a:pos x="T0" y="T1"/>
                </a:cxn>
                <a:cxn ang="0">
                  <a:pos x="T2" y="T3"/>
                </a:cxn>
                <a:cxn ang="0">
                  <a:pos x="T4" y="T5"/>
                </a:cxn>
                <a:cxn ang="0">
                  <a:pos x="T6" y="T7"/>
                </a:cxn>
                <a:cxn ang="0">
                  <a:pos x="T8" y="T9"/>
                </a:cxn>
              </a:cxnLst>
              <a:rect l="0" t="0" r="r" b="b"/>
              <a:pathLst>
                <a:path w="71" h="73">
                  <a:moveTo>
                    <a:pt x="19" y="0"/>
                  </a:moveTo>
                  <a:cubicBezTo>
                    <a:pt x="0" y="46"/>
                    <a:pt x="0" y="46"/>
                    <a:pt x="0" y="46"/>
                  </a:cubicBezTo>
                  <a:cubicBezTo>
                    <a:pt x="10" y="54"/>
                    <a:pt x="18" y="63"/>
                    <a:pt x="26" y="73"/>
                  </a:cubicBezTo>
                  <a:cubicBezTo>
                    <a:pt x="71" y="54"/>
                    <a:pt x="71" y="54"/>
                    <a:pt x="71" y="54"/>
                  </a:cubicBezTo>
                  <a:cubicBezTo>
                    <a:pt x="57" y="33"/>
                    <a:pt x="39" y="15"/>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3" name="Freeform 36">
              <a:extLst>
                <a:ext uri="{FF2B5EF4-FFF2-40B4-BE49-F238E27FC236}">
                  <a16:creationId xmlns:a16="http://schemas.microsoft.com/office/drawing/2014/main" id="{05FE5E77-BBF0-491B-B2B9-3B7AE9F8DECE}"/>
                </a:ext>
              </a:extLst>
            </p:cNvPr>
            <p:cNvSpPr>
              <a:spLocks/>
            </p:cNvSpPr>
            <p:nvPr/>
          </p:nvSpPr>
          <p:spPr bwMode="auto">
            <a:xfrm>
              <a:off x="7677150" y="2689226"/>
              <a:ext cx="1455738" cy="1462088"/>
            </a:xfrm>
            <a:custGeom>
              <a:avLst/>
              <a:gdLst>
                <a:gd name="T0" fmla="*/ 143 w 387"/>
                <a:gd name="T1" fmla="*/ 55 h 389"/>
                <a:gd name="T2" fmla="*/ 166 w 387"/>
                <a:gd name="T3" fmla="*/ 0 h 389"/>
                <a:gd name="T4" fmla="*/ 0 w 387"/>
                <a:gd name="T5" fmla="*/ 193 h 389"/>
                <a:gd name="T6" fmla="*/ 196 w 387"/>
                <a:gd name="T7" fmla="*/ 389 h 389"/>
                <a:gd name="T8" fmla="*/ 387 w 387"/>
                <a:gd name="T9" fmla="*/ 232 h 389"/>
                <a:gd name="T10" fmla="*/ 329 w 387"/>
                <a:gd name="T11" fmla="*/ 256 h 389"/>
                <a:gd name="T12" fmla="*/ 196 w 387"/>
                <a:gd name="T13" fmla="*/ 341 h 389"/>
                <a:gd name="T14" fmla="*/ 48 w 387"/>
                <a:gd name="T15" fmla="*/ 193 h 389"/>
                <a:gd name="T16" fmla="*/ 143 w 387"/>
                <a:gd name="T17" fmla="*/ 5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389">
                  <a:moveTo>
                    <a:pt x="143" y="55"/>
                  </a:moveTo>
                  <a:cubicBezTo>
                    <a:pt x="166" y="0"/>
                    <a:pt x="166" y="0"/>
                    <a:pt x="166" y="0"/>
                  </a:cubicBezTo>
                  <a:cubicBezTo>
                    <a:pt x="72" y="15"/>
                    <a:pt x="0" y="96"/>
                    <a:pt x="0" y="193"/>
                  </a:cubicBezTo>
                  <a:cubicBezTo>
                    <a:pt x="0" y="301"/>
                    <a:pt x="88" y="389"/>
                    <a:pt x="196" y="389"/>
                  </a:cubicBezTo>
                  <a:cubicBezTo>
                    <a:pt x="290" y="389"/>
                    <a:pt x="370" y="321"/>
                    <a:pt x="387" y="232"/>
                  </a:cubicBezTo>
                  <a:cubicBezTo>
                    <a:pt x="329" y="256"/>
                    <a:pt x="329" y="256"/>
                    <a:pt x="329" y="256"/>
                  </a:cubicBezTo>
                  <a:cubicBezTo>
                    <a:pt x="305" y="306"/>
                    <a:pt x="255" y="341"/>
                    <a:pt x="196" y="341"/>
                  </a:cubicBezTo>
                  <a:cubicBezTo>
                    <a:pt x="114" y="341"/>
                    <a:pt x="48" y="275"/>
                    <a:pt x="48" y="193"/>
                  </a:cubicBezTo>
                  <a:cubicBezTo>
                    <a:pt x="48" y="130"/>
                    <a:pt x="88" y="77"/>
                    <a:pt x="143"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4" name="Freeform 37">
              <a:extLst>
                <a:ext uri="{FF2B5EF4-FFF2-40B4-BE49-F238E27FC236}">
                  <a16:creationId xmlns:a16="http://schemas.microsoft.com/office/drawing/2014/main" id="{64FD94D8-F0CD-4D7E-ACF9-296F545AEFAA}"/>
                </a:ext>
              </a:extLst>
            </p:cNvPr>
            <p:cNvSpPr>
              <a:spLocks/>
            </p:cNvSpPr>
            <p:nvPr/>
          </p:nvSpPr>
          <p:spPr bwMode="auto">
            <a:xfrm>
              <a:off x="8963025" y="2378076"/>
              <a:ext cx="484188" cy="506413"/>
            </a:xfrm>
            <a:custGeom>
              <a:avLst/>
              <a:gdLst>
                <a:gd name="T0" fmla="*/ 102 w 129"/>
                <a:gd name="T1" fmla="*/ 135 h 135"/>
                <a:gd name="T2" fmla="*/ 121 w 129"/>
                <a:gd name="T3" fmla="*/ 127 h 135"/>
                <a:gd name="T4" fmla="*/ 129 w 129"/>
                <a:gd name="T5" fmla="*/ 88 h 135"/>
                <a:gd name="T6" fmla="*/ 40 w 129"/>
                <a:gd name="T7" fmla="*/ 0 h 135"/>
                <a:gd name="T8" fmla="*/ 10 w 129"/>
                <a:gd name="T9" fmla="*/ 6 h 135"/>
                <a:gd name="T10" fmla="*/ 0 w 129"/>
                <a:gd name="T11" fmla="*/ 31 h 135"/>
                <a:gd name="T12" fmla="*/ 102 w 129"/>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129" h="135">
                  <a:moveTo>
                    <a:pt x="102" y="135"/>
                  </a:moveTo>
                  <a:cubicBezTo>
                    <a:pt x="121" y="127"/>
                    <a:pt x="121" y="127"/>
                    <a:pt x="121" y="127"/>
                  </a:cubicBezTo>
                  <a:cubicBezTo>
                    <a:pt x="129" y="88"/>
                    <a:pt x="129" y="88"/>
                    <a:pt x="129" y="88"/>
                  </a:cubicBezTo>
                  <a:cubicBezTo>
                    <a:pt x="105" y="53"/>
                    <a:pt x="75" y="23"/>
                    <a:pt x="40" y="0"/>
                  </a:cubicBezTo>
                  <a:cubicBezTo>
                    <a:pt x="10" y="6"/>
                    <a:pt x="10" y="6"/>
                    <a:pt x="10" y="6"/>
                  </a:cubicBezTo>
                  <a:cubicBezTo>
                    <a:pt x="0" y="31"/>
                    <a:pt x="0" y="31"/>
                    <a:pt x="0" y="31"/>
                  </a:cubicBezTo>
                  <a:cubicBezTo>
                    <a:pt x="42" y="56"/>
                    <a:pt x="77" y="92"/>
                    <a:pt x="102"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5" name="Freeform 38">
              <a:extLst>
                <a:ext uri="{FF2B5EF4-FFF2-40B4-BE49-F238E27FC236}">
                  <a16:creationId xmlns:a16="http://schemas.microsoft.com/office/drawing/2014/main" id="{585BA684-1E1F-4B39-9EC2-5B704A865FC9}"/>
                </a:ext>
              </a:extLst>
            </p:cNvPr>
            <p:cNvSpPr>
              <a:spLocks/>
            </p:cNvSpPr>
            <p:nvPr/>
          </p:nvSpPr>
          <p:spPr bwMode="auto">
            <a:xfrm>
              <a:off x="7158038" y="2163763"/>
              <a:ext cx="2508250" cy="2506663"/>
            </a:xfrm>
            <a:custGeom>
              <a:avLst/>
              <a:gdLst>
                <a:gd name="T0" fmla="*/ 334 w 667"/>
                <a:gd name="T1" fmla="*/ 667 h 667"/>
                <a:gd name="T2" fmla="*/ 667 w 667"/>
                <a:gd name="T3" fmla="*/ 333 h 667"/>
                <a:gd name="T4" fmla="*/ 667 w 667"/>
                <a:gd name="T5" fmla="*/ 323 h 667"/>
                <a:gd name="T6" fmla="*/ 657 w 667"/>
                <a:gd name="T7" fmla="*/ 317 h 667"/>
                <a:gd name="T8" fmla="*/ 619 w 667"/>
                <a:gd name="T9" fmla="*/ 332 h 667"/>
                <a:gd name="T10" fmla="*/ 619 w 667"/>
                <a:gd name="T11" fmla="*/ 333 h 667"/>
                <a:gd name="T12" fmla="*/ 334 w 667"/>
                <a:gd name="T13" fmla="*/ 619 h 667"/>
                <a:gd name="T14" fmla="*/ 48 w 667"/>
                <a:gd name="T15" fmla="*/ 333 h 667"/>
                <a:gd name="T16" fmla="*/ 334 w 667"/>
                <a:gd name="T17" fmla="*/ 48 h 667"/>
                <a:gd name="T18" fmla="*/ 341 w 667"/>
                <a:gd name="T19" fmla="*/ 48 h 667"/>
                <a:gd name="T20" fmla="*/ 357 w 667"/>
                <a:gd name="T21" fmla="*/ 9 h 667"/>
                <a:gd name="T22" fmla="*/ 351 w 667"/>
                <a:gd name="T23" fmla="*/ 0 h 667"/>
                <a:gd name="T24" fmla="*/ 334 w 667"/>
                <a:gd name="T25" fmla="*/ 0 h 667"/>
                <a:gd name="T26" fmla="*/ 0 w 667"/>
                <a:gd name="T27" fmla="*/ 333 h 667"/>
                <a:gd name="T28" fmla="*/ 334 w 667"/>
                <a:gd name="T29"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7" h="667">
                  <a:moveTo>
                    <a:pt x="334" y="667"/>
                  </a:moveTo>
                  <a:cubicBezTo>
                    <a:pt x="518" y="667"/>
                    <a:pt x="667" y="517"/>
                    <a:pt x="667" y="333"/>
                  </a:cubicBezTo>
                  <a:cubicBezTo>
                    <a:pt x="667" y="330"/>
                    <a:pt x="667" y="327"/>
                    <a:pt x="667" y="323"/>
                  </a:cubicBezTo>
                  <a:cubicBezTo>
                    <a:pt x="657" y="317"/>
                    <a:pt x="657" y="317"/>
                    <a:pt x="657" y="317"/>
                  </a:cubicBezTo>
                  <a:cubicBezTo>
                    <a:pt x="619" y="332"/>
                    <a:pt x="619" y="332"/>
                    <a:pt x="619" y="332"/>
                  </a:cubicBezTo>
                  <a:cubicBezTo>
                    <a:pt x="619" y="333"/>
                    <a:pt x="619" y="333"/>
                    <a:pt x="619" y="333"/>
                  </a:cubicBezTo>
                  <a:cubicBezTo>
                    <a:pt x="619" y="491"/>
                    <a:pt x="491" y="619"/>
                    <a:pt x="334" y="619"/>
                  </a:cubicBezTo>
                  <a:cubicBezTo>
                    <a:pt x="176" y="619"/>
                    <a:pt x="48" y="491"/>
                    <a:pt x="48" y="333"/>
                  </a:cubicBezTo>
                  <a:cubicBezTo>
                    <a:pt x="48" y="176"/>
                    <a:pt x="176" y="48"/>
                    <a:pt x="334" y="48"/>
                  </a:cubicBezTo>
                  <a:cubicBezTo>
                    <a:pt x="336" y="48"/>
                    <a:pt x="339" y="48"/>
                    <a:pt x="341" y="48"/>
                  </a:cubicBezTo>
                  <a:cubicBezTo>
                    <a:pt x="357" y="9"/>
                    <a:pt x="357" y="9"/>
                    <a:pt x="357" y="9"/>
                  </a:cubicBezTo>
                  <a:cubicBezTo>
                    <a:pt x="351" y="0"/>
                    <a:pt x="351" y="0"/>
                    <a:pt x="351" y="0"/>
                  </a:cubicBezTo>
                  <a:cubicBezTo>
                    <a:pt x="345" y="0"/>
                    <a:pt x="340" y="0"/>
                    <a:pt x="334" y="0"/>
                  </a:cubicBezTo>
                  <a:cubicBezTo>
                    <a:pt x="150" y="0"/>
                    <a:pt x="0" y="149"/>
                    <a:pt x="0" y="333"/>
                  </a:cubicBezTo>
                  <a:cubicBezTo>
                    <a:pt x="0" y="517"/>
                    <a:pt x="150" y="667"/>
                    <a:pt x="334" y="6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6" name="Freeform 40">
              <a:extLst>
                <a:ext uri="{FF2B5EF4-FFF2-40B4-BE49-F238E27FC236}">
                  <a16:creationId xmlns:a16="http://schemas.microsoft.com/office/drawing/2014/main" id="{D03DD086-2BE9-4D0A-849E-65ACCD887E3A}"/>
                </a:ext>
              </a:extLst>
            </p:cNvPr>
            <p:cNvSpPr>
              <a:spLocks noEditPoints="1"/>
            </p:cNvSpPr>
            <p:nvPr/>
          </p:nvSpPr>
          <p:spPr bwMode="auto">
            <a:xfrm>
              <a:off x="8493125" y="2441576"/>
              <a:ext cx="2033588" cy="1143000"/>
            </a:xfrm>
            <a:custGeom>
              <a:avLst/>
              <a:gdLst>
                <a:gd name="T0" fmla="*/ 455 w 541"/>
                <a:gd name="T1" fmla="*/ 100 h 304"/>
                <a:gd name="T2" fmla="*/ 475 w 541"/>
                <a:gd name="T3" fmla="*/ 0 h 304"/>
                <a:gd name="T4" fmla="*/ 302 w 541"/>
                <a:gd name="T5" fmla="*/ 72 h 304"/>
                <a:gd name="T6" fmla="*/ 288 w 541"/>
                <a:gd name="T7" fmla="*/ 144 h 304"/>
                <a:gd name="T8" fmla="*/ 18 w 541"/>
                <a:gd name="T9" fmla="*/ 258 h 304"/>
                <a:gd name="T10" fmla="*/ 5 w 541"/>
                <a:gd name="T11" fmla="*/ 289 h 304"/>
                <a:gd name="T12" fmla="*/ 27 w 541"/>
                <a:gd name="T13" fmla="*/ 304 h 304"/>
                <a:gd name="T14" fmla="*/ 37 w 541"/>
                <a:gd name="T15" fmla="*/ 302 h 304"/>
                <a:gd name="T16" fmla="*/ 307 w 541"/>
                <a:gd name="T17" fmla="*/ 188 h 304"/>
                <a:gd name="T18" fmla="*/ 368 w 541"/>
                <a:gd name="T19" fmla="*/ 228 h 304"/>
                <a:gd name="T20" fmla="*/ 541 w 541"/>
                <a:gd name="T21" fmla="*/ 156 h 304"/>
                <a:gd name="T22" fmla="*/ 455 w 541"/>
                <a:gd name="T23" fmla="*/ 100 h 304"/>
                <a:gd name="T24" fmla="*/ 373 w 541"/>
                <a:gd name="T25" fmla="*/ 174 h 304"/>
                <a:gd name="T26" fmla="*/ 336 w 541"/>
                <a:gd name="T27" fmla="*/ 150 h 304"/>
                <a:gd name="T28" fmla="*/ 344 w 541"/>
                <a:gd name="T29" fmla="*/ 107 h 304"/>
                <a:gd name="T30" fmla="*/ 410 w 541"/>
                <a:gd name="T31" fmla="*/ 79 h 304"/>
                <a:gd name="T32" fmla="*/ 401 w 541"/>
                <a:gd name="T33" fmla="*/ 123 h 304"/>
                <a:gd name="T34" fmla="*/ 439 w 541"/>
                <a:gd name="T35" fmla="*/ 147 h 304"/>
                <a:gd name="T36" fmla="*/ 373 w 541"/>
                <a:gd name="T37" fmla="*/ 17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1" h="304">
                  <a:moveTo>
                    <a:pt x="455" y="100"/>
                  </a:moveTo>
                  <a:cubicBezTo>
                    <a:pt x="475" y="0"/>
                    <a:pt x="475" y="0"/>
                    <a:pt x="475" y="0"/>
                  </a:cubicBezTo>
                  <a:cubicBezTo>
                    <a:pt x="302" y="72"/>
                    <a:pt x="302" y="72"/>
                    <a:pt x="302" y="72"/>
                  </a:cubicBezTo>
                  <a:cubicBezTo>
                    <a:pt x="288" y="144"/>
                    <a:pt x="288" y="144"/>
                    <a:pt x="288" y="144"/>
                  </a:cubicBezTo>
                  <a:cubicBezTo>
                    <a:pt x="18" y="258"/>
                    <a:pt x="18" y="258"/>
                    <a:pt x="18" y="258"/>
                  </a:cubicBezTo>
                  <a:cubicBezTo>
                    <a:pt x="6" y="263"/>
                    <a:pt x="0" y="277"/>
                    <a:pt x="5" y="289"/>
                  </a:cubicBezTo>
                  <a:cubicBezTo>
                    <a:pt x="9" y="298"/>
                    <a:pt x="18" y="304"/>
                    <a:pt x="27" y="304"/>
                  </a:cubicBezTo>
                  <a:cubicBezTo>
                    <a:pt x="31" y="304"/>
                    <a:pt x="34" y="303"/>
                    <a:pt x="37" y="302"/>
                  </a:cubicBezTo>
                  <a:cubicBezTo>
                    <a:pt x="307" y="188"/>
                    <a:pt x="307" y="188"/>
                    <a:pt x="307" y="188"/>
                  </a:cubicBezTo>
                  <a:cubicBezTo>
                    <a:pt x="368" y="228"/>
                    <a:pt x="368" y="228"/>
                    <a:pt x="368" y="228"/>
                  </a:cubicBezTo>
                  <a:cubicBezTo>
                    <a:pt x="541" y="156"/>
                    <a:pt x="541" y="156"/>
                    <a:pt x="541" y="156"/>
                  </a:cubicBezTo>
                  <a:lnTo>
                    <a:pt x="455" y="100"/>
                  </a:lnTo>
                  <a:close/>
                  <a:moveTo>
                    <a:pt x="373" y="174"/>
                  </a:moveTo>
                  <a:cubicBezTo>
                    <a:pt x="336" y="150"/>
                    <a:pt x="336" y="150"/>
                    <a:pt x="336" y="150"/>
                  </a:cubicBezTo>
                  <a:cubicBezTo>
                    <a:pt x="344" y="107"/>
                    <a:pt x="344" y="107"/>
                    <a:pt x="344" y="107"/>
                  </a:cubicBezTo>
                  <a:cubicBezTo>
                    <a:pt x="410" y="79"/>
                    <a:pt x="410" y="79"/>
                    <a:pt x="410" y="79"/>
                  </a:cubicBezTo>
                  <a:cubicBezTo>
                    <a:pt x="401" y="123"/>
                    <a:pt x="401" y="123"/>
                    <a:pt x="401" y="123"/>
                  </a:cubicBezTo>
                  <a:cubicBezTo>
                    <a:pt x="439" y="147"/>
                    <a:pt x="439" y="147"/>
                    <a:pt x="439" y="147"/>
                  </a:cubicBezTo>
                  <a:lnTo>
                    <a:pt x="373"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7" name="Freeform 41">
              <a:extLst>
                <a:ext uri="{FF2B5EF4-FFF2-40B4-BE49-F238E27FC236}">
                  <a16:creationId xmlns:a16="http://schemas.microsoft.com/office/drawing/2014/main" id="{88C859F4-8DBD-46CD-99CA-D169538760B2}"/>
                </a:ext>
              </a:extLst>
            </p:cNvPr>
            <p:cNvSpPr>
              <a:spLocks noEditPoints="1"/>
            </p:cNvSpPr>
            <p:nvPr/>
          </p:nvSpPr>
          <p:spPr bwMode="auto">
            <a:xfrm>
              <a:off x="8270875" y="1293813"/>
              <a:ext cx="1135063" cy="2027238"/>
            </a:xfrm>
            <a:custGeom>
              <a:avLst/>
              <a:gdLst>
                <a:gd name="T0" fmla="*/ 5 w 302"/>
                <a:gd name="T1" fmla="*/ 505 h 539"/>
                <a:gd name="T2" fmla="*/ 18 w 302"/>
                <a:gd name="T3" fmla="*/ 537 h 539"/>
                <a:gd name="T4" fmla="*/ 27 w 302"/>
                <a:gd name="T5" fmla="*/ 539 h 539"/>
                <a:gd name="T6" fmla="*/ 49 w 302"/>
                <a:gd name="T7" fmla="*/ 524 h 539"/>
                <a:gd name="T8" fmla="*/ 160 w 302"/>
                <a:gd name="T9" fmla="*/ 253 h 539"/>
                <a:gd name="T10" fmla="*/ 231 w 302"/>
                <a:gd name="T11" fmla="*/ 237 h 539"/>
                <a:gd name="T12" fmla="*/ 285 w 302"/>
                <a:gd name="T13" fmla="*/ 106 h 539"/>
                <a:gd name="T14" fmla="*/ 302 w 302"/>
                <a:gd name="T15" fmla="*/ 64 h 539"/>
                <a:gd name="T16" fmla="*/ 202 w 302"/>
                <a:gd name="T17" fmla="*/ 85 h 539"/>
                <a:gd name="T18" fmla="*/ 145 w 302"/>
                <a:gd name="T19" fmla="*/ 0 h 539"/>
                <a:gd name="T20" fmla="*/ 75 w 302"/>
                <a:gd name="T21" fmla="*/ 173 h 539"/>
                <a:gd name="T22" fmla="*/ 115 w 302"/>
                <a:gd name="T23" fmla="*/ 234 h 539"/>
                <a:gd name="T24" fmla="*/ 5 w 302"/>
                <a:gd name="T25" fmla="*/ 505 h 539"/>
                <a:gd name="T26" fmla="*/ 156 w 302"/>
                <a:gd name="T27" fmla="*/ 102 h 539"/>
                <a:gd name="T28" fmla="*/ 180 w 302"/>
                <a:gd name="T29" fmla="*/ 139 h 539"/>
                <a:gd name="T30" fmla="*/ 223 w 302"/>
                <a:gd name="T31" fmla="*/ 130 h 539"/>
                <a:gd name="T32" fmla="*/ 196 w 302"/>
                <a:gd name="T33" fmla="*/ 196 h 539"/>
                <a:gd name="T34" fmla="*/ 153 w 302"/>
                <a:gd name="T35" fmla="*/ 205 h 539"/>
                <a:gd name="T36" fmla="*/ 129 w 302"/>
                <a:gd name="T37" fmla="*/ 168 h 539"/>
                <a:gd name="T38" fmla="*/ 156 w 302"/>
                <a:gd name="T39" fmla="*/ 10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2" h="539">
                  <a:moveTo>
                    <a:pt x="5" y="505"/>
                  </a:moveTo>
                  <a:cubicBezTo>
                    <a:pt x="0" y="518"/>
                    <a:pt x="6" y="532"/>
                    <a:pt x="18" y="537"/>
                  </a:cubicBezTo>
                  <a:cubicBezTo>
                    <a:pt x="21" y="538"/>
                    <a:pt x="24" y="539"/>
                    <a:pt x="27" y="539"/>
                  </a:cubicBezTo>
                  <a:cubicBezTo>
                    <a:pt x="36" y="539"/>
                    <a:pt x="45" y="533"/>
                    <a:pt x="49" y="524"/>
                  </a:cubicBezTo>
                  <a:cubicBezTo>
                    <a:pt x="160" y="253"/>
                    <a:pt x="160" y="253"/>
                    <a:pt x="160" y="253"/>
                  </a:cubicBezTo>
                  <a:cubicBezTo>
                    <a:pt x="231" y="237"/>
                    <a:pt x="231" y="237"/>
                    <a:pt x="231" y="237"/>
                  </a:cubicBezTo>
                  <a:cubicBezTo>
                    <a:pt x="285" y="106"/>
                    <a:pt x="285" y="106"/>
                    <a:pt x="285" y="106"/>
                  </a:cubicBezTo>
                  <a:cubicBezTo>
                    <a:pt x="302" y="64"/>
                    <a:pt x="302" y="64"/>
                    <a:pt x="302" y="64"/>
                  </a:cubicBezTo>
                  <a:cubicBezTo>
                    <a:pt x="202" y="85"/>
                    <a:pt x="202" y="85"/>
                    <a:pt x="202" y="85"/>
                  </a:cubicBezTo>
                  <a:cubicBezTo>
                    <a:pt x="145" y="0"/>
                    <a:pt x="145" y="0"/>
                    <a:pt x="145" y="0"/>
                  </a:cubicBezTo>
                  <a:cubicBezTo>
                    <a:pt x="75" y="173"/>
                    <a:pt x="75" y="173"/>
                    <a:pt x="75" y="173"/>
                  </a:cubicBezTo>
                  <a:cubicBezTo>
                    <a:pt x="115" y="234"/>
                    <a:pt x="115" y="234"/>
                    <a:pt x="115" y="234"/>
                  </a:cubicBezTo>
                  <a:lnTo>
                    <a:pt x="5" y="505"/>
                  </a:lnTo>
                  <a:close/>
                  <a:moveTo>
                    <a:pt x="156" y="102"/>
                  </a:moveTo>
                  <a:cubicBezTo>
                    <a:pt x="180" y="139"/>
                    <a:pt x="180" y="139"/>
                    <a:pt x="180" y="139"/>
                  </a:cubicBezTo>
                  <a:cubicBezTo>
                    <a:pt x="223" y="130"/>
                    <a:pt x="223" y="130"/>
                    <a:pt x="223" y="130"/>
                  </a:cubicBezTo>
                  <a:cubicBezTo>
                    <a:pt x="196" y="196"/>
                    <a:pt x="196" y="196"/>
                    <a:pt x="196" y="196"/>
                  </a:cubicBezTo>
                  <a:cubicBezTo>
                    <a:pt x="153" y="205"/>
                    <a:pt x="153" y="205"/>
                    <a:pt x="153" y="205"/>
                  </a:cubicBezTo>
                  <a:cubicBezTo>
                    <a:pt x="129" y="168"/>
                    <a:pt x="129" y="168"/>
                    <a:pt x="129" y="168"/>
                  </a:cubicBezTo>
                  <a:lnTo>
                    <a:pt x="156"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2B3A42"/>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pic>
        <p:nvPicPr>
          <p:cNvPr id="54" name="Graphic 91">
            <a:extLst>
              <a:ext uri="{FF2B5EF4-FFF2-40B4-BE49-F238E27FC236}">
                <a16:creationId xmlns:a16="http://schemas.microsoft.com/office/drawing/2014/main" id="{640883CF-D22B-4AEA-B9FC-DB3FB02F52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90991" y="3986124"/>
            <a:ext cx="640080" cy="640080"/>
          </a:xfrm>
          <a:prstGeom prst="rect">
            <a:avLst/>
          </a:prstGeom>
        </p:spPr>
      </p:pic>
      <p:grpSp>
        <p:nvGrpSpPr>
          <p:cNvPr id="55" name="Group 54">
            <a:extLst>
              <a:ext uri="{FF2B5EF4-FFF2-40B4-BE49-F238E27FC236}">
                <a16:creationId xmlns:a16="http://schemas.microsoft.com/office/drawing/2014/main" id="{9A37719B-DF18-434B-8E64-5F857E312379}"/>
              </a:ext>
            </a:extLst>
          </p:cNvPr>
          <p:cNvGrpSpPr/>
          <p:nvPr/>
        </p:nvGrpSpPr>
        <p:grpSpPr>
          <a:xfrm>
            <a:off x="8567950" y="4070630"/>
            <a:ext cx="489257" cy="458615"/>
            <a:chOff x="4167188" y="1289043"/>
            <a:chExt cx="3973020" cy="3835407"/>
          </a:xfrm>
          <a:solidFill>
            <a:schemeClr val="bg1"/>
          </a:solidFill>
        </p:grpSpPr>
        <p:sp>
          <p:nvSpPr>
            <p:cNvPr id="56" name="Freeform 6">
              <a:extLst>
                <a:ext uri="{FF2B5EF4-FFF2-40B4-BE49-F238E27FC236}">
                  <a16:creationId xmlns:a16="http://schemas.microsoft.com/office/drawing/2014/main" id="{07D56C0C-2C0F-42F4-9D32-F14C7ED32B40}"/>
                </a:ext>
              </a:extLst>
            </p:cNvPr>
            <p:cNvSpPr>
              <a:spLocks noEditPoints="1"/>
            </p:cNvSpPr>
            <p:nvPr/>
          </p:nvSpPr>
          <p:spPr bwMode="auto">
            <a:xfrm>
              <a:off x="4167188" y="1289043"/>
              <a:ext cx="3973020" cy="2528366"/>
            </a:xfrm>
            <a:custGeom>
              <a:avLst/>
              <a:gdLst>
                <a:gd name="T0" fmla="*/ 1003 w 1124"/>
                <a:gd name="T1" fmla="*/ 288 h 763"/>
                <a:gd name="T2" fmla="*/ 532 w 1124"/>
                <a:gd name="T3" fmla="*/ 64 h 763"/>
                <a:gd name="T4" fmla="*/ 362 w 1124"/>
                <a:gd name="T5" fmla="*/ 180 h 763"/>
                <a:gd name="T6" fmla="*/ 152 w 1124"/>
                <a:gd name="T7" fmla="*/ 395 h 763"/>
                <a:gd name="T8" fmla="*/ 116 w 1124"/>
                <a:gd name="T9" fmla="*/ 749 h 763"/>
                <a:gd name="T10" fmla="*/ 105 w 1124"/>
                <a:gd name="T11" fmla="*/ 688 h 763"/>
                <a:gd name="T12" fmla="*/ 179 w 1124"/>
                <a:gd name="T13" fmla="*/ 440 h 763"/>
                <a:gd name="T14" fmla="*/ 201 w 1124"/>
                <a:gd name="T15" fmla="*/ 413 h 763"/>
                <a:gd name="T16" fmla="*/ 362 w 1124"/>
                <a:gd name="T17" fmla="*/ 228 h 763"/>
                <a:gd name="T18" fmla="*/ 472 w 1124"/>
                <a:gd name="T19" fmla="*/ 267 h 763"/>
                <a:gd name="T20" fmla="*/ 563 w 1124"/>
                <a:gd name="T21" fmla="*/ 101 h 763"/>
                <a:gd name="T22" fmla="*/ 736 w 1124"/>
                <a:gd name="T23" fmla="*/ 49 h 763"/>
                <a:gd name="T24" fmla="*/ 801 w 1124"/>
                <a:gd name="T25" fmla="*/ 364 h 763"/>
                <a:gd name="T26" fmla="*/ 1076 w 1124"/>
                <a:gd name="T27" fmla="*/ 524 h 763"/>
                <a:gd name="T28" fmla="*/ 729 w 1124"/>
                <a:gd name="T29" fmla="*/ 715 h 763"/>
                <a:gd name="T30" fmla="*/ 759 w 1124"/>
                <a:gd name="T31" fmla="*/ 542 h 763"/>
                <a:gd name="T32" fmla="*/ 895 w 1124"/>
                <a:gd name="T33" fmla="*/ 616 h 763"/>
                <a:gd name="T34" fmla="*/ 895 w 1124"/>
                <a:gd name="T35" fmla="*/ 428 h 763"/>
                <a:gd name="T36" fmla="*/ 759 w 1124"/>
                <a:gd name="T37" fmla="*/ 494 h 763"/>
                <a:gd name="T38" fmla="*/ 681 w 1124"/>
                <a:gd name="T39" fmla="*/ 715 h 763"/>
                <a:gd name="T40" fmla="*/ 584 w 1124"/>
                <a:gd name="T41" fmla="*/ 501 h 763"/>
                <a:gd name="T42" fmla="*/ 560 w 1124"/>
                <a:gd name="T43" fmla="*/ 316 h 763"/>
                <a:gd name="T44" fmla="*/ 536 w 1124"/>
                <a:gd name="T45" fmla="*/ 501 h 763"/>
                <a:gd name="T46" fmla="*/ 473 w 1124"/>
                <a:gd name="T47" fmla="*/ 715 h 763"/>
                <a:gd name="T48" fmla="*/ 487 w 1124"/>
                <a:gd name="T49" fmla="*/ 763 h 763"/>
                <a:gd name="T50" fmla="*/ 1124 w 1124"/>
                <a:gd name="T51" fmla="*/ 524 h 763"/>
                <a:gd name="T52" fmla="*/ 953 w 1124"/>
                <a:gd name="T53" fmla="*/ 316 h 763"/>
                <a:gd name="T54" fmla="*/ 784 w 1124"/>
                <a:gd name="T55" fmla="*/ 293 h 763"/>
                <a:gd name="T56" fmla="*/ 955 w 1124"/>
                <a:gd name="T57" fmla="*/ 288 h 763"/>
                <a:gd name="T58" fmla="*/ 895 w 1124"/>
                <a:gd name="T59" fmla="*/ 476 h 763"/>
                <a:gd name="T60" fmla="*/ 895 w 1124"/>
                <a:gd name="T61" fmla="*/ 568 h 763"/>
                <a:gd name="T62" fmla="*/ 895 w 1124"/>
                <a:gd name="T63" fmla="*/ 476 h 763"/>
                <a:gd name="T64" fmla="*/ 560 w 1124"/>
                <a:gd name="T65" fmla="*/ 364 h 763"/>
                <a:gd name="T66" fmla="*/ 560 w 1124"/>
                <a:gd name="T67" fmla="*/ 456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4" h="763">
                  <a:moveTo>
                    <a:pt x="1001" y="315"/>
                  </a:moveTo>
                  <a:cubicBezTo>
                    <a:pt x="1002" y="306"/>
                    <a:pt x="1003" y="297"/>
                    <a:pt x="1003" y="288"/>
                  </a:cubicBezTo>
                  <a:cubicBezTo>
                    <a:pt x="1003" y="129"/>
                    <a:pt x="873" y="0"/>
                    <a:pt x="714" y="0"/>
                  </a:cubicBezTo>
                  <a:cubicBezTo>
                    <a:pt x="648" y="0"/>
                    <a:pt x="584" y="22"/>
                    <a:pt x="532" y="64"/>
                  </a:cubicBezTo>
                  <a:cubicBezTo>
                    <a:pt x="490" y="98"/>
                    <a:pt x="458" y="144"/>
                    <a:pt x="440" y="195"/>
                  </a:cubicBezTo>
                  <a:cubicBezTo>
                    <a:pt x="416" y="186"/>
                    <a:pt x="389" y="180"/>
                    <a:pt x="362" y="180"/>
                  </a:cubicBezTo>
                  <a:cubicBezTo>
                    <a:pt x="246" y="180"/>
                    <a:pt x="152" y="275"/>
                    <a:pt x="152" y="391"/>
                  </a:cubicBezTo>
                  <a:cubicBezTo>
                    <a:pt x="152" y="392"/>
                    <a:pt x="152" y="393"/>
                    <a:pt x="152" y="395"/>
                  </a:cubicBezTo>
                  <a:cubicBezTo>
                    <a:pt x="65" y="410"/>
                    <a:pt x="0" y="486"/>
                    <a:pt x="0" y="577"/>
                  </a:cubicBezTo>
                  <a:cubicBezTo>
                    <a:pt x="0" y="655"/>
                    <a:pt x="48" y="722"/>
                    <a:pt x="116" y="749"/>
                  </a:cubicBezTo>
                  <a:cubicBezTo>
                    <a:pt x="120" y="745"/>
                    <a:pt x="125" y="742"/>
                    <a:pt x="130" y="738"/>
                  </a:cubicBezTo>
                  <a:cubicBezTo>
                    <a:pt x="119" y="723"/>
                    <a:pt x="111" y="706"/>
                    <a:pt x="105" y="688"/>
                  </a:cubicBezTo>
                  <a:cubicBezTo>
                    <a:pt x="70" y="663"/>
                    <a:pt x="48" y="623"/>
                    <a:pt x="48" y="577"/>
                  </a:cubicBezTo>
                  <a:cubicBezTo>
                    <a:pt x="48" y="504"/>
                    <a:pt x="106" y="443"/>
                    <a:pt x="179" y="440"/>
                  </a:cubicBezTo>
                  <a:cubicBezTo>
                    <a:pt x="205" y="438"/>
                    <a:pt x="205" y="438"/>
                    <a:pt x="205" y="438"/>
                  </a:cubicBezTo>
                  <a:cubicBezTo>
                    <a:pt x="201" y="413"/>
                    <a:pt x="201" y="413"/>
                    <a:pt x="201" y="413"/>
                  </a:cubicBezTo>
                  <a:cubicBezTo>
                    <a:pt x="200" y="405"/>
                    <a:pt x="200" y="398"/>
                    <a:pt x="200" y="391"/>
                  </a:cubicBezTo>
                  <a:cubicBezTo>
                    <a:pt x="200" y="301"/>
                    <a:pt x="273" y="228"/>
                    <a:pt x="362" y="228"/>
                  </a:cubicBezTo>
                  <a:cubicBezTo>
                    <a:pt x="391" y="228"/>
                    <a:pt x="419" y="236"/>
                    <a:pt x="444" y="250"/>
                  </a:cubicBezTo>
                  <a:cubicBezTo>
                    <a:pt x="472" y="267"/>
                    <a:pt x="472" y="267"/>
                    <a:pt x="472" y="267"/>
                  </a:cubicBezTo>
                  <a:cubicBezTo>
                    <a:pt x="479" y="235"/>
                    <a:pt x="479" y="235"/>
                    <a:pt x="479" y="235"/>
                  </a:cubicBezTo>
                  <a:cubicBezTo>
                    <a:pt x="491" y="182"/>
                    <a:pt x="521" y="135"/>
                    <a:pt x="563" y="101"/>
                  </a:cubicBezTo>
                  <a:cubicBezTo>
                    <a:pt x="606" y="66"/>
                    <a:pt x="658" y="48"/>
                    <a:pt x="714" y="48"/>
                  </a:cubicBezTo>
                  <a:cubicBezTo>
                    <a:pt x="721" y="48"/>
                    <a:pt x="728" y="48"/>
                    <a:pt x="736" y="49"/>
                  </a:cubicBezTo>
                  <a:cubicBezTo>
                    <a:pt x="736" y="293"/>
                    <a:pt x="736" y="293"/>
                    <a:pt x="736" y="293"/>
                  </a:cubicBezTo>
                  <a:cubicBezTo>
                    <a:pt x="736" y="323"/>
                    <a:pt x="756" y="364"/>
                    <a:pt x="801" y="364"/>
                  </a:cubicBezTo>
                  <a:cubicBezTo>
                    <a:pt x="991" y="364"/>
                    <a:pt x="991" y="364"/>
                    <a:pt x="991" y="364"/>
                  </a:cubicBezTo>
                  <a:cubicBezTo>
                    <a:pt x="1044" y="400"/>
                    <a:pt x="1076" y="459"/>
                    <a:pt x="1076" y="524"/>
                  </a:cubicBezTo>
                  <a:cubicBezTo>
                    <a:pt x="1076" y="629"/>
                    <a:pt x="991" y="715"/>
                    <a:pt x="885" y="715"/>
                  </a:cubicBezTo>
                  <a:cubicBezTo>
                    <a:pt x="729" y="715"/>
                    <a:pt x="729" y="715"/>
                    <a:pt x="729" y="715"/>
                  </a:cubicBezTo>
                  <a:cubicBezTo>
                    <a:pt x="729" y="564"/>
                    <a:pt x="729" y="564"/>
                    <a:pt x="729" y="564"/>
                  </a:cubicBezTo>
                  <a:cubicBezTo>
                    <a:pt x="729" y="556"/>
                    <a:pt x="743" y="542"/>
                    <a:pt x="759" y="542"/>
                  </a:cubicBezTo>
                  <a:cubicBezTo>
                    <a:pt x="804" y="542"/>
                    <a:pt x="804" y="542"/>
                    <a:pt x="804" y="542"/>
                  </a:cubicBezTo>
                  <a:cubicBezTo>
                    <a:pt x="813" y="584"/>
                    <a:pt x="850" y="616"/>
                    <a:pt x="895" y="616"/>
                  </a:cubicBezTo>
                  <a:cubicBezTo>
                    <a:pt x="947" y="616"/>
                    <a:pt x="989" y="574"/>
                    <a:pt x="989" y="522"/>
                  </a:cubicBezTo>
                  <a:cubicBezTo>
                    <a:pt x="989" y="470"/>
                    <a:pt x="947" y="428"/>
                    <a:pt x="895" y="428"/>
                  </a:cubicBezTo>
                  <a:cubicBezTo>
                    <a:pt x="854" y="428"/>
                    <a:pt x="818" y="456"/>
                    <a:pt x="806" y="494"/>
                  </a:cubicBezTo>
                  <a:cubicBezTo>
                    <a:pt x="759" y="494"/>
                    <a:pt x="759" y="494"/>
                    <a:pt x="759" y="494"/>
                  </a:cubicBezTo>
                  <a:cubicBezTo>
                    <a:pt x="718" y="494"/>
                    <a:pt x="681" y="527"/>
                    <a:pt x="681" y="564"/>
                  </a:cubicBezTo>
                  <a:cubicBezTo>
                    <a:pt x="681" y="715"/>
                    <a:pt x="681" y="715"/>
                    <a:pt x="681" y="715"/>
                  </a:cubicBezTo>
                  <a:cubicBezTo>
                    <a:pt x="584" y="715"/>
                    <a:pt x="584" y="715"/>
                    <a:pt x="584" y="715"/>
                  </a:cubicBezTo>
                  <a:cubicBezTo>
                    <a:pt x="584" y="501"/>
                    <a:pt x="584" y="501"/>
                    <a:pt x="584" y="501"/>
                  </a:cubicBezTo>
                  <a:cubicBezTo>
                    <a:pt x="624" y="490"/>
                    <a:pt x="654" y="453"/>
                    <a:pt x="654" y="410"/>
                  </a:cubicBezTo>
                  <a:cubicBezTo>
                    <a:pt x="654" y="358"/>
                    <a:pt x="612" y="316"/>
                    <a:pt x="560" y="316"/>
                  </a:cubicBezTo>
                  <a:cubicBezTo>
                    <a:pt x="508" y="316"/>
                    <a:pt x="466" y="358"/>
                    <a:pt x="466" y="410"/>
                  </a:cubicBezTo>
                  <a:cubicBezTo>
                    <a:pt x="466" y="453"/>
                    <a:pt x="496" y="490"/>
                    <a:pt x="536" y="501"/>
                  </a:cubicBezTo>
                  <a:cubicBezTo>
                    <a:pt x="536" y="715"/>
                    <a:pt x="536" y="715"/>
                    <a:pt x="536" y="715"/>
                  </a:cubicBezTo>
                  <a:cubicBezTo>
                    <a:pt x="473" y="715"/>
                    <a:pt x="473" y="715"/>
                    <a:pt x="473" y="715"/>
                  </a:cubicBezTo>
                  <a:cubicBezTo>
                    <a:pt x="468" y="723"/>
                    <a:pt x="464" y="731"/>
                    <a:pt x="459" y="738"/>
                  </a:cubicBezTo>
                  <a:cubicBezTo>
                    <a:pt x="469" y="746"/>
                    <a:pt x="478" y="754"/>
                    <a:pt x="487" y="763"/>
                  </a:cubicBezTo>
                  <a:cubicBezTo>
                    <a:pt x="885" y="763"/>
                    <a:pt x="885" y="763"/>
                    <a:pt x="885" y="763"/>
                  </a:cubicBezTo>
                  <a:cubicBezTo>
                    <a:pt x="1017" y="763"/>
                    <a:pt x="1124" y="656"/>
                    <a:pt x="1124" y="524"/>
                  </a:cubicBezTo>
                  <a:cubicBezTo>
                    <a:pt x="1124" y="437"/>
                    <a:pt x="1077" y="357"/>
                    <a:pt x="1001" y="315"/>
                  </a:cubicBezTo>
                  <a:close/>
                  <a:moveTo>
                    <a:pt x="953" y="316"/>
                  </a:moveTo>
                  <a:cubicBezTo>
                    <a:pt x="801" y="316"/>
                    <a:pt x="801" y="316"/>
                    <a:pt x="801" y="316"/>
                  </a:cubicBezTo>
                  <a:cubicBezTo>
                    <a:pt x="784" y="316"/>
                    <a:pt x="784" y="293"/>
                    <a:pt x="784" y="293"/>
                  </a:cubicBezTo>
                  <a:cubicBezTo>
                    <a:pt x="784" y="58"/>
                    <a:pt x="784" y="58"/>
                    <a:pt x="784" y="58"/>
                  </a:cubicBezTo>
                  <a:cubicBezTo>
                    <a:pt x="882" y="88"/>
                    <a:pt x="955" y="180"/>
                    <a:pt x="955" y="288"/>
                  </a:cubicBezTo>
                  <a:cubicBezTo>
                    <a:pt x="955" y="298"/>
                    <a:pt x="954" y="307"/>
                    <a:pt x="953" y="316"/>
                  </a:cubicBezTo>
                  <a:close/>
                  <a:moveTo>
                    <a:pt x="895" y="476"/>
                  </a:moveTo>
                  <a:cubicBezTo>
                    <a:pt x="921" y="476"/>
                    <a:pt x="941" y="497"/>
                    <a:pt x="941" y="522"/>
                  </a:cubicBezTo>
                  <a:cubicBezTo>
                    <a:pt x="941" y="547"/>
                    <a:pt x="921" y="568"/>
                    <a:pt x="895" y="568"/>
                  </a:cubicBezTo>
                  <a:cubicBezTo>
                    <a:pt x="870" y="568"/>
                    <a:pt x="850" y="547"/>
                    <a:pt x="850" y="522"/>
                  </a:cubicBezTo>
                  <a:cubicBezTo>
                    <a:pt x="850" y="497"/>
                    <a:pt x="870" y="476"/>
                    <a:pt x="895" y="476"/>
                  </a:cubicBezTo>
                  <a:close/>
                  <a:moveTo>
                    <a:pt x="514" y="410"/>
                  </a:moveTo>
                  <a:cubicBezTo>
                    <a:pt x="514" y="384"/>
                    <a:pt x="534" y="364"/>
                    <a:pt x="560" y="364"/>
                  </a:cubicBezTo>
                  <a:cubicBezTo>
                    <a:pt x="585" y="364"/>
                    <a:pt x="606" y="384"/>
                    <a:pt x="606" y="410"/>
                  </a:cubicBezTo>
                  <a:cubicBezTo>
                    <a:pt x="606" y="435"/>
                    <a:pt x="585" y="456"/>
                    <a:pt x="560" y="456"/>
                  </a:cubicBezTo>
                  <a:cubicBezTo>
                    <a:pt x="534" y="456"/>
                    <a:pt x="514" y="435"/>
                    <a:pt x="514"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7" name="Freeform 7">
              <a:extLst>
                <a:ext uri="{FF2B5EF4-FFF2-40B4-BE49-F238E27FC236}">
                  <a16:creationId xmlns:a16="http://schemas.microsoft.com/office/drawing/2014/main" id="{32CD9161-1930-44E0-975B-D9CE79D23D3A}"/>
                </a:ext>
              </a:extLst>
            </p:cNvPr>
            <p:cNvSpPr>
              <a:spLocks noEditPoints="1"/>
            </p:cNvSpPr>
            <p:nvPr/>
          </p:nvSpPr>
          <p:spPr bwMode="auto">
            <a:xfrm>
              <a:off x="4367213" y="3060700"/>
              <a:ext cx="1814513" cy="2063750"/>
            </a:xfrm>
            <a:custGeom>
              <a:avLst/>
              <a:gdLst>
                <a:gd name="T0" fmla="*/ 71 w 483"/>
                <a:gd name="T1" fmla="*/ 337 h 549"/>
                <a:gd name="T2" fmla="*/ 0 w 483"/>
                <a:gd name="T3" fmla="*/ 549 h 549"/>
                <a:gd name="T4" fmla="*/ 48 w 483"/>
                <a:gd name="T5" fmla="*/ 549 h 549"/>
                <a:gd name="T6" fmla="*/ 241 w 483"/>
                <a:gd name="T7" fmla="*/ 309 h 549"/>
                <a:gd name="T8" fmla="*/ 435 w 483"/>
                <a:gd name="T9" fmla="*/ 549 h 549"/>
                <a:gd name="T10" fmla="*/ 483 w 483"/>
                <a:gd name="T11" fmla="*/ 549 h 549"/>
                <a:gd name="T12" fmla="*/ 412 w 483"/>
                <a:gd name="T13" fmla="*/ 337 h 549"/>
                <a:gd name="T14" fmla="*/ 328 w 483"/>
                <a:gd name="T15" fmla="*/ 278 h 549"/>
                <a:gd name="T16" fmla="*/ 394 w 483"/>
                <a:gd name="T17" fmla="*/ 152 h 549"/>
                <a:gd name="T18" fmla="*/ 241 w 483"/>
                <a:gd name="T19" fmla="*/ 0 h 549"/>
                <a:gd name="T20" fmla="*/ 89 w 483"/>
                <a:gd name="T21" fmla="*/ 152 h 549"/>
                <a:gd name="T22" fmla="*/ 155 w 483"/>
                <a:gd name="T23" fmla="*/ 278 h 549"/>
                <a:gd name="T24" fmla="*/ 71 w 483"/>
                <a:gd name="T25" fmla="*/ 337 h 549"/>
                <a:gd name="T26" fmla="*/ 137 w 483"/>
                <a:gd name="T27" fmla="*/ 152 h 549"/>
                <a:gd name="T28" fmla="*/ 241 w 483"/>
                <a:gd name="T29" fmla="*/ 48 h 549"/>
                <a:gd name="T30" fmla="*/ 346 w 483"/>
                <a:gd name="T31" fmla="*/ 152 h 549"/>
                <a:gd name="T32" fmla="*/ 241 w 483"/>
                <a:gd name="T33" fmla="*/ 257 h 549"/>
                <a:gd name="T34" fmla="*/ 137 w 483"/>
                <a:gd name="T35" fmla="*/ 15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549">
                  <a:moveTo>
                    <a:pt x="71" y="337"/>
                  </a:moveTo>
                  <a:cubicBezTo>
                    <a:pt x="24" y="389"/>
                    <a:pt x="0" y="463"/>
                    <a:pt x="0" y="549"/>
                  </a:cubicBezTo>
                  <a:cubicBezTo>
                    <a:pt x="48" y="549"/>
                    <a:pt x="48" y="549"/>
                    <a:pt x="48" y="549"/>
                  </a:cubicBezTo>
                  <a:cubicBezTo>
                    <a:pt x="48" y="384"/>
                    <a:pt x="145" y="309"/>
                    <a:pt x="241" y="309"/>
                  </a:cubicBezTo>
                  <a:cubicBezTo>
                    <a:pt x="337" y="309"/>
                    <a:pt x="435" y="384"/>
                    <a:pt x="435" y="549"/>
                  </a:cubicBezTo>
                  <a:cubicBezTo>
                    <a:pt x="483" y="549"/>
                    <a:pt x="483" y="549"/>
                    <a:pt x="483" y="549"/>
                  </a:cubicBezTo>
                  <a:cubicBezTo>
                    <a:pt x="483" y="463"/>
                    <a:pt x="458" y="389"/>
                    <a:pt x="412" y="337"/>
                  </a:cubicBezTo>
                  <a:cubicBezTo>
                    <a:pt x="388" y="311"/>
                    <a:pt x="359" y="291"/>
                    <a:pt x="328" y="278"/>
                  </a:cubicBezTo>
                  <a:cubicBezTo>
                    <a:pt x="367" y="250"/>
                    <a:pt x="394" y="204"/>
                    <a:pt x="394" y="152"/>
                  </a:cubicBezTo>
                  <a:cubicBezTo>
                    <a:pt x="394" y="68"/>
                    <a:pt x="325" y="0"/>
                    <a:pt x="241" y="0"/>
                  </a:cubicBezTo>
                  <a:cubicBezTo>
                    <a:pt x="157" y="0"/>
                    <a:pt x="89" y="68"/>
                    <a:pt x="89" y="152"/>
                  </a:cubicBezTo>
                  <a:cubicBezTo>
                    <a:pt x="89" y="204"/>
                    <a:pt x="115" y="250"/>
                    <a:pt x="155" y="278"/>
                  </a:cubicBezTo>
                  <a:cubicBezTo>
                    <a:pt x="123" y="291"/>
                    <a:pt x="94" y="311"/>
                    <a:pt x="71" y="337"/>
                  </a:cubicBezTo>
                  <a:close/>
                  <a:moveTo>
                    <a:pt x="137" y="152"/>
                  </a:moveTo>
                  <a:cubicBezTo>
                    <a:pt x="137" y="95"/>
                    <a:pt x="184" y="48"/>
                    <a:pt x="241" y="48"/>
                  </a:cubicBezTo>
                  <a:cubicBezTo>
                    <a:pt x="299" y="48"/>
                    <a:pt x="346" y="95"/>
                    <a:pt x="346" y="152"/>
                  </a:cubicBezTo>
                  <a:cubicBezTo>
                    <a:pt x="346" y="210"/>
                    <a:pt x="299" y="257"/>
                    <a:pt x="241" y="257"/>
                  </a:cubicBezTo>
                  <a:cubicBezTo>
                    <a:pt x="184" y="257"/>
                    <a:pt x="137" y="210"/>
                    <a:pt x="137"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sp>
        <p:nvSpPr>
          <p:cNvPr id="34" name="Title 1">
            <a:extLst>
              <a:ext uri="{FF2B5EF4-FFF2-40B4-BE49-F238E27FC236}">
                <a16:creationId xmlns:a16="http://schemas.microsoft.com/office/drawing/2014/main" id="{E7D715E4-9B57-4380-BA28-46943AF53602}"/>
              </a:ext>
            </a:extLst>
          </p:cNvPr>
          <p:cNvSpPr txBox="1">
            <a:spLocks/>
          </p:cNvSpPr>
          <p:nvPr/>
        </p:nvSpPr>
        <p:spPr>
          <a:xfrm>
            <a:off x="457200" y="734252"/>
            <a:ext cx="7144384" cy="369332"/>
          </a:xfrm>
          <a:prstGeom prst="rect">
            <a:avLst/>
          </a:prstGeom>
        </p:spPr>
        <p:txBody>
          <a:bodyPr vert="horz"/>
          <a:lstStyle>
            <a:lvl1pPr>
              <a:defRPr>
                <a:latin typeface="+mj-lt"/>
                <a:ea typeface="+mj-ea"/>
                <a:cs typeface="+mj-cs"/>
              </a:defRPr>
            </a:lvl1pPr>
          </a:lstStyle>
          <a:p>
            <a:r>
              <a:rPr lang="zh-CN" altLang="en-US" sz="2400" b="1" kern="0"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项目目标</a:t>
            </a:r>
          </a:p>
        </p:txBody>
      </p:sp>
    </p:spTree>
    <p:extLst>
      <p:ext uri="{BB962C8B-B14F-4D97-AF65-F5344CB8AC3E}">
        <p14:creationId xmlns:p14="http://schemas.microsoft.com/office/powerpoint/2010/main" val="402391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1A24A9C-435B-45EF-AFD3-4613244C6FB7}"/>
              </a:ext>
            </a:extLst>
          </p:cNvPr>
          <p:cNvGraphicFramePr>
            <a:graphicFrameLocks noChangeAspect="1"/>
          </p:cNvGraphicFramePr>
          <p:nvPr>
            <p:custDataLst>
              <p:tags r:id="rId1"/>
            </p:custDataLst>
            <p:extLst>
              <p:ext uri="{D42A27DB-BD31-4B8C-83A1-F6EECF244321}">
                <p14:modId xmlns:p14="http://schemas.microsoft.com/office/powerpoint/2010/main" val="419087422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60" imgH="360" progId="TCLayout.ActiveDocument.1">
                  <p:embed/>
                </p:oleObj>
              </mc:Choice>
              <mc:Fallback>
                <p:oleObj name="think-cell 幻灯片" r:id="rId4" imgW="360" imgH="360" progId="TCLayout.ActiveDocument.1">
                  <p:embed/>
                  <p:pic>
                    <p:nvPicPr>
                      <p:cNvPr id="31" name="Object 30" hidden="1">
                        <a:extLst>
                          <a:ext uri="{FF2B5EF4-FFF2-40B4-BE49-F238E27FC236}">
                            <a16:creationId xmlns:a16="http://schemas.microsoft.com/office/drawing/2014/main" id="{A1A24A9C-435B-45EF-AFD3-4613244C6FB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33" name="Title 1">
            <a:extLst>
              <a:ext uri="{FF2B5EF4-FFF2-40B4-BE49-F238E27FC236}">
                <a16:creationId xmlns:a16="http://schemas.microsoft.com/office/drawing/2014/main" id="{7D658104-EAF9-4946-83B7-E89E2635F96B}"/>
              </a:ext>
            </a:extLst>
          </p:cNvPr>
          <p:cNvSpPr txBox="1">
            <a:spLocks/>
          </p:cNvSpPr>
          <p:nvPr/>
        </p:nvSpPr>
        <p:spPr>
          <a:xfrm>
            <a:off x="545231" y="834856"/>
            <a:ext cx="7144384"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r>
              <a:rPr lang="zh-CN" altLang="en-US" sz="2400" kern="0" dirty="0">
                <a:latin typeface="微软雅黑" panose="020B0503020204020204" pitchFamily="34" charset="-122"/>
                <a:ea typeface="微软雅黑" panose="020B0503020204020204" pitchFamily="34" charset="-122"/>
                <a:sym typeface="微软雅黑" panose="020B0503020204020204" pitchFamily="34" charset="-122"/>
              </a:rPr>
              <a:t>协作单位获益</a:t>
            </a:r>
          </a:p>
        </p:txBody>
      </p:sp>
      <p:sp>
        <p:nvSpPr>
          <p:cNvPr id="36" name="Isosceles Triangle 35">
            <a:extLst>
              <a:ext uri="{FF2B5EF4-FFF2-40B4-BE49-F238E27FC236}">
                <a16:creationId xmlns:a16="http://schemas.microsoft.com/office/drawing/2014/main" id="{263A48CC-B0D4-466B-808F-2BC22F4E5FE1}"/>
              </a:ext>
            </a:extLst>
          </p:cNvPr>
          <p:cNvSpPr/>
          <p:nvPr/>
        </p:nvSpPr>
        <p:spPr>
          <a:xfrm flipV="1">
            <a:off x="990600" y="2622192"/>
            <a:ext cx="582764" cy="313144"/>
          </a:xfrm>
          <a:prstGeom prst="triangle">
            <a:avLst/>
          </a:prstGeom>
          <a:ln/>
        </p:spPr>
        <p:style>
          <a:lnRef idx="0">
            <a:schemeClr val="accent2"/>
          </a:lnRef>
          <a:fillRef idx="3">
            <a:schemeClr val="accent2"/>
          </a:fillRef>
          <a:effectRef idx="3">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400"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7" name="Freeform: Shape 36">
            <a:extLst>
              <a:ext uri="{FF2B5EF4-FFF2-40B4-BE49-F238E27FC236}">
                <a16:creationId xmlns:a16="http://schemas.microsoft.com/office/drawing/2014/main" id="{7ACD1030-EDC7-4289-9AE7-704545FA2F70}"/>
              </a:ext>
            </a:extLst>
          </p:cNvPr>
          <p:cNvSpPr/>
          <p:nvPr/>
        </p:nvSpPr>
        <p:spPr>
          <a:xfrm>
            <a:off x="1277802" y="2409083"/>
            <a:ext cx="3017520" cy="2011680"/>
          </a:xfrm>
          <a:custGeom>
            <a:avLst/>
            <a:gdLst>
              <a:gd name="connsiteX0" fmla="*/ 0 w 3456384"/>
              <a:gd name="connsiteY0" fmla="*/ 0 h 2028600"/>
              <a:gd name="connsiteX1" fmla="*/ 3456384 w 3456384"/>
              <a:gd name="connsiteY1" fmla="*/ 0 h 2028600"/>
              <a:gd name="connsiteX2" fmla="*/ 3456384 w 3456384"/>
              <a:gd name="connsiteY2" fmla="*/ 2028600 h 2028600"/>
              <a:gd name="connsiteX3" fmla="*/ 0 w 3456384"/>
              <a:gd name="connsiteY3" fmla="*/ 2028600 h 2028600"/>
              <a:gd name="connsiteX4" fmla="*/ 0 w 3456384"/>
              <a:gd name="connsiteY4" fmla="*/ 0 h 20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384" h="2028600">
                <a:moveTo>
                  <a:pt x="0" y="0"/>
                </a:moveTo>
                <a:lnTo>
                  <a:pt x="3456384" y="0"/>
                </a:lnTo>
                <a:lnTo>
                  <a:pt x="3456384" y="2028600"/>
                </a:lnTo>
                <a:lnTo>
                  <a:pt x="0" y="2028600"/>
                </a:lnTo>
                <a:lnTo>
                  <a:pt x="0" y="0"/>
                </a:lnTo>
                <a:close/>
              </a:path>
            </a:pathLst>
          </a:custGeom>
          <a:solidFill>
            <a:srgbClr val="FFFFFF"/>
          </a:solidFill>
          <a:ln w="28575">
            <a:solidFill>
              <a:srgbClr val="8F1D24"/>
            </a:solidFill>
          </a:ln>
        </p:spPr>
        <p:style>
          <a:lnRef idx="1">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228600" rIns="9144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lvl="1" defTabSz="622300">
              <a:buClr>
                <a:schemeClr val="tx1"/>
              </a:buClr>
            </a:pP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8" name="Arrow: Pentagon 37">
            <a:extLst>
              <a:ext uri="{FF2B5EF4-FFF2-40B4-BE49-F238E27FC236}">
                <a16:creationId xmlns:a16="http://schemas.microsoft.com/office/drawing/2014/main" id="{09BDEF57-A2EF-40CC-8722-5C56155D60A7}"/>
              </a:ext>
            </a:extLst>
          </p:cNvPr>
          <p:cNvSpPr/>
          <p:nvPr/>
        </p:nvSpPr>
        <p:spPr>
          <a:xfrm>
            <a:off x="990602" y="1981201"/>
            <a:ext cx="2743200" cy="640080"/>
          </a:xfrm>
          <a:prstGeom prst="homePlate">
            <a:avLst/>
          </a:prstGeom>
          <a:solidFill>
            <a:srgbClr val="8F1D24"/>
          </a:solidFill>
          <a:ln/>
        </p:spPr>
        <p:style>
          <a:lnRef idx="0">
            <a:schemeClr val="accent1"/>
          </a:lnRef>
          <a:fillRef idx="3">
            <a:schemeClr val="accent1"/>
          </a:fillRef>
          <a:effectRef idx="3">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9" name="文本框 65">
            <a:extLst>
              <a:ext uri="{FF2B5EF4-FFF2-40B4-BE49-F238E27FC236}">
                <a16:creationId xmlns:a16="http://schemas.microsoft.com/office/drawing/2014/main" id="{5E314D31-20EC-4F23-9D2F-46D0B254AE95}"/>
              </a:ext>
            </a:extLst>
          </p:cNvPr>
          <p:cNvSpPr txBox="1"/>
          <p:nvPr/>
        </p:nvSpPr>
        <p:spPr>
          <a:xfrm>
            <a:off x="1098923" y="2116780"/>
            <a:ext cx="169785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促进科室建设</a:t>
            </a:r>
          </a:p>
        </p:txBody>
      </p:sp>
      <p:sp>
        <p:nvSpPr>
          <p:cNvPr id="41" name="TextBox 40">
            <a:extLst>
              <a:ext uri="{FF2B5EF4-FFF2-40B4-BE49-F238E27FC236}">
                <a16:creationId xmlns:a16="http://schemas.microsoft.com/office/drawing/2014/main" id="{DCDAE284-E3D7-4591-AD7F-50DF5198F264}"/>
              </a:ext>
            </a:extLst>
          </p:cNvPr>
          <p:cNvSpPr txBox="1"/>
          <p:nvPr/>
        </p:nvSpPr>
        <p:spPr>
          <a:xfrm>
            <a:off x="1396276" y="2831217"/>
            <a:ext cx="2743200" cy="646331"/>
          </a:xfrm>
          <a:prstGeom prst="rect">
            <a:avLst/>
          </a:prstGeom>
          <a:solidFill>
            <a:schemeClr val="bg1">
              <a:lumMod val="85000"/>
            </a:schemeClr>
          </a:solidFill>
        </p:spPr>
        <p:txBody>
          <a:bodyPr wrap="square" rtlCol="0" anchor="ctr">
            <a:spAutoFit/>
          </a:bodyPr>
          <a:lstStyle/>
          <a:p>
            <a:pPr marL="182880" lvl="1" indent="-182880" defTabSz="622300">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建立完整的临床科研体系</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2" name="TextBox 41">
            <a:extLst>
              <a:ext uri="{FF2B5EF4-FFF2-40B4-BE49-F238E27FC236}">
                <a16:creationId xmlns:a16="http://schemas.microsoft.com/office/drawing/2014/main" id="{A66DEE0B-0C4F-4CD3-914A-39C7228D24C6}"/>
              </a:ext>
            </a:extLst>
          </p:cNvPr>
          <p:cNvSpPr txBox="1"/>
          <p:nvPr/>
        </p:nvSpPr>
        <p:spPr>
          <a:xfrm>
            <a:off x="1396277" y="3620868"/>
            <a:ext cx="2743200" cy="646331"/>
          </a:xfrm>
          <a:prstGeom prst="rect">
            <a:avLst/>
          </a:prstGeom>
          <a:solidFill>
            <a:schemeClr val="bg1">
              <a:lumMod val="85000"/>
            </a:schemeClr>
          </a:solidFill>
        </p:spPr>
        <p:txBody>
          <a:bodyPr wrap="square" rtlCol="0" anchor="ctr">
            <a:spAutoFit/>
          </a:bodyPr>
          <a:lstStyle/>
          <a:p>
            <a:pPr marL="182880" lvl="1" indent="-182880" defTabSz="622300">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以项目带动医教科研协调发展</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5" name="Isosceles Triangle 54">
            <a:extLst>
              <a:ext uri="{FF2B5EF4-FFF2-40B4-BE49-F238E27FC236}">
                <a16:creationId xmlns:a16="http://schemas.microsoft.com/office/drawing/2014/main" id="{DE187D76-9037-4D95-A83E-A71A934CAB93}"/>
              </a:ext>
            </a:extLst>
          </p:cNvPr>
          <p:cNvSpPr/>
          <p:nvPr/>
        </p:nvSpPr>
        <p:spPr>
          <a:xfrm flipV="1">
            <a:off x="4540030" y="2610384"/>
            <a:ext cx="582764" cy="313144"/>
          </a:xfrm>
          <a:prstGeom prst="triangle">
            <a:avLst/>
          </a:prstGeom>
          <a:ln/>
        </p:spPr>
        <p:style>
          <a:lnRef idx="0">
            <a:schemeClr val="accent2"/>
          </a:lnRef>
          <a:fillRef idx="3">
            <a:schemeClr val="accent2"/>
          </a:fillRef>
          <a:effectRef idx="3">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400"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6" name="Freeform: Shape 55">
            <a:extLst>
              <a:ext uri="{FF2B5EF4-FFF2-40B4-BE49-F238E27FC236}">
                <a16:creationId xmlns:a16="http://schemas.microsoft.com/office/drawing/2014/main" id="{8449128D-2D10-4DA3-8834-862FE8B7868B}"/>
              </a:ext>
            </a:extLst>
          </p:cNvPr>
          <p:cNvSpPr/>
          <p:nvPr/>
        </p:nvSpPr>
        <p:spPr>
          <a:xfrm>
            <a:off x="4827233" y="2409083"/>
            <a:ext cx="3017520" cy="2011680"/>
          </a:xfrm>
          <a:custGeom>
            <a:avLst/>
            <a:gdLst>
              <a:gd name="connsiteX0" fmla="*/ 0 w 3456384"/>
              <a:gd name="connsiteY0" fmla="*/ 0 h 2028600"/>
              <a:gd name="connsiteX1" fmla="*/ 3456384 w 3456384"/>
              <a:gd name="connsiteY1" fmla="*/ 0 h 2028600"/>
              <a:gd name="connsiteX2" fmla="*/ 3456384 w 3456384"/>
              <a:gd name="connsiteY2" fmla="*/ 2028600 h 2028600"/>
              <a:gd name="connsiteX3" fmla="*/ 0 w 3456384"/>
              <a:gd name="connsiteY3" fmla="*/ 2028600 h 2028600"/>
              <a:gd name="connsiteX4" fmla="*/ 0 w 3456384"/>
              <a:gd name="connsiteY4" fmla="*/ 0 h 20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384" h="2028600">
                <a:moveTo>
                  <a:pt x="0" y="0"/>
                </a:moveTo>
                <a:lnTo>
                  <a:pt x="3456384" y="0"/>
                </a:lnTo>
                <a:lnTo>
                  <a:pt x="3456384" y="2028600"/>
                </a:lnTo>
                <a:lnTo>
                  <a:pt x="0" y="2028600"/>
                </a:lnTo>
                <a:lnTo>
                  <a:pt x="0" y="0"/>
                </a:lnTo>
                <a:close/>
              </a:path>
            </a:pathLst>
          </a:custGeom>
          <a:solidFill>
            <a:srgbClr val="FFFFFF"/>
          </a:solidFill>
          <a:ln w="28575">
            <a:solidFill>
              <a:srgbClr val="8F1D24"/>
            </a:solidFill>
          </a:ln>
        </p:spPr>
        <p:style>
          <a:lnRef idx="1">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228600" rIns="9144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lvl="1" defTabSz="622300">
              <a:buClr>
                <a:schemeClr val="tx1"/>
              </a:buClr>
            </a:pP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7" name="Arrow: Pentagon 56">
            <a:extLst>
              <a:ext uri="{FF2B5EF4-FFF2-40B4-BE49-F238E27FC236}">
                <a16:creationId xmlns:a16="http://schemas.microsoft.com/office/drawing/2014/main" id="{8D9E3CDC-CFF6-4AB3-B362-CE96E3B722DA}"/>
              </a:ext>
            </a:extLst>
          </p:cNvPr>
          <p:cNvSpPr/>
          <p:nvPr/>
        </p:nvSpPr>
        <p:spPr>
          <a:xfrm>
            <a:off x="4540031" y="1969393"/>
            <a:ext cx="2743200" cy="640080"/>
          </a:xfrm>
          <a:prstGeom prst="homePlate">
            <a:avLst/>
          </a:prstGeom>
          <a:solidFill>
            <a:srgbClr val="8F1D24"/>
          </a:solidFill>
          <a:ln/>
        </p:spPr>
        <p:style>
          <a:lnRef idx="0">
            <a:schemeClr val="accent1"/>
          </a:lnRef>
          <a:fillRef idx="3">
            <a:schemeClr val="accent1"/>
          </a:fillRef>
          <a:effectRef idx="3">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9" name="TextBox 58">
            <a:extLst>
              <a:ext uri="{FF2B5EF4-FFF2-40B4-BE49-F238E27FC236}">
                <a16:creationId xmlns:a16="http://schemas.microsoft.com/office/drawing/2014/main" id="{D9BA908D-3E80-46F0-A00A-DB9ED8C795FD}"/>
              </a:ext>
            </a:extLst>
          </p:cNvPr>
          <p:cNvSpPr txBox="1"/>
          <p:nvPr/>
        </p:nvSpPr>
        <p:spPr>
          <a:xfrm>
            <a:off x="5008750" y="2831217"/>
            <a:ext cx="2743200" cy="646331"/>
          </a:xfrm>
          <a:prstGeom prst="rect">
            <a:avLst/>
          </a:prstGeom>
          <a:solidFill>
            <a:schemeClr val="bg1">
              <a:lumMod val="85000"/>
            </a:schemeClr>
          </a:solidFill>
        </p:spPr>
        <p:txBody>
          <a:bodyPr wrap="square" rtlCol="0" anchor="ctr">
            <a:spAutoFit/>
          </a:bodyPr>
          <a:lstStyle/>
          <a:p>
            <a:pPr marL="182880" lvl="1" indent="-182880" defTabSz="622300">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区域标杆医院效应可以吸引更多患者</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0" name="TextBox 59">
            <a:extLst>
              <a:ext uri="{FF2B5EF4-FFF2-40B4-BE49-F238E27FC236}">
                <a16:creationId xmlns:a16="http://schemas.microsoft.com/office/drawing/2014/main" id="{1188F444-69F6-4E0C-BEEB-6ABFF7BC8DDE}"/>
              </a:ext>
            </a:extLst>
          </p:cNvPr>
          <p:cNvSpPr txBox="1"/>
          <p:nvPr/>
        </p:nvSpPr>
        <p:spPr>
          <a:xfrm>
            <a:off x="5008750" y="3620869"/>
            <a:ext cx="2743200" cy="646331"/>
          </a:xfrm>
          <a:prstGeom prst="rect">
            <a:avLst/>
          </a:prstGeom>
          <a:solidFill>
            <a:schemeClr val="bg1">
              <a:lumMod val="85000"/>
            </a:schemeClr>
          </a:solidFill>
        </p:spPr>
        <p:txBody>
          <a:bodyPr wrap="square" rtlCol="0" anchor="ctr">
            <a:spAutoFit/>
          </a:bodyPr>
          <a:lstStyle/>
          <a:p>
            <a:pPr marL="182880" lvl="1" indent="-182880" defTabSz="622300">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标准化诊疗积淀学术和社会影响力</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6" name="文本框 65">
            <a:extLst>
              <a:ext uri="{FF2B5EF4-FFF2-40B4-BE49-F238E27FC236}">
                <a16:creationId xmlns:a16="http://schemas.microsoft.com/office/drawing/2014/main" id="{2ED187B0-9D4C-445E-A9EE-1393B0A6D7F8}"/>
              </a:ext>
            </a:extLst>
          </p:cNvPr>
          <p:cNvSpPr txBox="1"/>
          <p:nvPr/>
        </p:nvSpPr>
        <p:spPr>
          <a:xfrm>
            <a:off x="4557414" y="2080019"/>
            <a:ext cx="309591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提升</a:t>
            </a:r>
            <a:r>
              <a:rPr lang="en-US" altLang="zh-CN"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2</a:t>
            </a:r>
            <a:r>
              <a:rPr lang="zh-CN" altLang="en-US"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型炎症诊治知名度</a:t>
            </a:r>
          </a:p>
        </p:txBody>
      </p:sp>
      <p:sp>
        <p:nvSpPr>
          <p:cNvPr id="61" name="Isosceles Triangle 60">
            <a:extLst>
              <a:ext uri="{FF2B5EF4-FFF2-40B4-BE49-F238E27FC236}">
                <a16:creationId xmlns:a16="http://schemas.microsoft.com/office/drawing/2014/main" id="{C8FD4717-ED95-467F-B09F-465C371AFB40}"/>
              </a:ext>
            </a:extLst>
          </p:cNvPr>
          <p:cNvSpPr/>
          <p:nvPr/>
        </p:nvSpPr>
        <p:spPr>
          <a:xfrm flipV="1">
            <a:off x="8001672" y="2610384"/>
            <a:ext cx="582764" cy="313144"/>
          </a:xfrm>
          <a:prstGeom prst="triangle">
            <a:avLst/>
          </a:prstGeom>
          <a:ln/>
        </p:spPr>
        <p:style>
          <a:lnRef idx="0">
            <a:schemeClr val="accent2"/>
          </a:lnRef>
          <a:fillRef idx="3">
            <a:schemeClr val="accent2"/>
          </a:fillRef>
          <a:effectRef idx="3">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400" dirty="0" err="1">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2" name="Freeform: Shape 61">
            <a:extLst>
              <a:ext uri="{FF2B5EF4-FFF2-40B4-BE49-F238E27FC236}">
                <a16:creationId xmlns:a16="http://schemas.microsoft.com/office/drawing/2014/main" id="{A7952F6E-D9B6-4A70-8C39-E0EA9821982A}"/>
              </a:ext>
            </a:extLst>
          </p:cNvPr>
          <p:cNvSpPr/>
          <p:nvPr/>
        </p:nvSpPr>
        <p:spPr>
          <a:xfrm>
            <a:off x="8288874" y="2409083"/>
            <a:ext cx="3017520" cy="2011680"/>
          </a:xfrm>
          <a:custGeom>
            <a:avLst/>
            <a:gdLst>
              <a:gd name="connsiteX0" fmla="*/ 0 w 3456384"/>
              <a:gd name="connsiteY0" fmla="*/ 0 h 2028600"/>
              <a:gd name="connsiteX1" fmla="*/ 3456384 w 3456384"/>
              <a:gd name="connsiteY1" fmla="*/ 0 h 2028600"/>
              <a:gd name="connsiteX2" fmla="*/ 3456384 w 3456384"/>
              <a:gd name="connsiteY2" fmla="*/ 2028600 h 2028600"/>
              <a:gd name="connsiteX3" fmla="*/ 0 w 3456384"/>
              <a:gd name="connsiteY3" fmla="*/ 2028600 h 2028600"/>
              <a:gd name="connsiteX4" fmla="*/ 0 w 3456384"/>
              <a:gd name="connsiteY4" fmla="*/ 0 h 20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384" h="2028600">
                <a:moveTo>
                  <a:pt x="0" y="0"/>
                </a:moveTo>
                <a:lnTo>
                  <a:pt x="3456384" y="0"/>
                </a:lnTo>
                <a:lnTo>
                  <a:pt x="3456384" y="2028600"/>
                </a:lnTo>
                <a:lnTo>
                  <a:pt x="0" y="2028600"/>
                </a:lnTo>
                <a:lnTo>
                  <a:pt x="0" y="0"/>
                </a:lnTo>
                <a:close/>
              </a:path>
            </a:pathLst>
          </a:custGeom>
          <a:solidFill>
            <a:srgbClr val="FFFFFF"/>
          </a:solidFill>
          <a:ln w="28575">
            <a:solidFill>
              <a:srgbClr val="8F1D24"/>
            </a:solidFill>
          </a:ln>
        </p:spPr>
        <p:style>
          <a:lnRef idx="1">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228600" rIns="91440" bIns="45720" numCol="1" spcCol="1270" anchor="t"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0" lvl="1" defTabSz="622300">
              <a:buClr>
                <a:schemeClr val="tx1"/>
              </a:buClr>
            </a:pP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3" name="Arrow: Pentagon 62">
            <a:extLst>
              <a:ext uri="{FF2B5EF4-FFF2-40B4-BE49-F238E27FC236}">
                <a16:creationId xmlns:a16="http://schemas.microsoft.com/office/drawing/2014/main" id="{D11D360D-E53A-4DD2-A027-06B218A29068}"/>
              </a:ext>
            </a:extLst>
          </p:cNvPr>
          <p:cNvSpPr/>
          <p:nvPr/>
        </p:nvSpPr>
        <p:spPr>
          <a:xfrm>
            <a:off x="8001673" y="1969393"/>
            <a:ext cx="3044786" cy="646331"/>
          </a:xfrm>
          <a:prstGeom prst="homePlate">
            <a:avLst/>
          </a:prstGeom>
          <a:solidFill>
            <a:srgbClr val="8F1D24"/>
          </a:solidFill>
          <a:ln/>
        </p:spPr>
        <p:style>
          <a:lnRef idx="0">
            <a:schemeClr val="accent1"/>
          </a:lnRef>
          <a:fillRef idx="3">
            <a:schemeClr val="accent1"/>
          </a:fillRef>
          <a:effectRef idx="3">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4" name="TextBox 63">
            <a:extLst>
              <a:ext uri="{FF2B5EF4-FFF2-40B4-BE49-F238E27FC236}">
                <a16:creationId xmlns:a16="http://schemas.microsoft.com/office/drawing/2014/main" id="{05353CC8-6B90-4846-95D9-8B40FD7E838F}"/>
              </a:ext>
            </a:extLst>
          </p:cNvPr>
          <p:cNvSpPr txBox="1"/>
          <p:nvPr/>
        </p:nvSpPr>
        <p:spPr>
          <a:xfrm>
            <a:off x="8419596" y="2831217"/>
            <a:ext cx="2743200" cy="646331"/>
          </a:xfrm>
          <a:prstGeom prst="rect">
            <a:avLst/>
          </a:prstGeom>
          <a:solidFill>
            <a:schemeClr val="bg1">
              <a:lumMod val="85000"/>
            </a:schemeClr>
          </a:solidFill>
        </p:spPr>
        <p:txBody>
          <a:bodyPr wrap="square" rtlCol="0" anchor="ctr">
            <a:spAutoFit/>
          </a:bodyPr>
          <a:lstStyle/>
          <a:p>
            <a:pPr marL="182880" lvl="1" indent="-182880" defTabSz="622300">
              <a:spcBef>
                <a:spcPts val="434"/>
              </a:spcBef>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资源共享，牵头大样本临床研究</a:t>
            </a:r>
          </a:p>
        </p:txBody>
      </p:sp>
      <p:sp>
        <p:nvSpPr>
          <p:cNvPr id="65" name="TextBox 64">
            <a:extLst>
              <a:ext uri="{FF2B5EF4-FFF2-40B4-BE49-F238E27FC236}">
                <a16:creationId xmlns:a16="http://schemas.microsoft.com/office/drawing/2014/main" id="{695C4DE9-90E9-4205-B379-076F8F858D1B}"/>
              </a:ext>
            </a:extLst>
          </p:cNvPr>
          <p:cNvSpPr txBox="1"/>
          <p:nvPr/>
        </p:nvSpPr>
        <p:spPr>
          <a:xfrm>
            <a:off x="8417056" y="3620868"/>
            <a:ext cx="2743200" cy="646331"/>
          </a:xfrm>
          <a:prstGeom prst="rect">
            <a:avLst/>
          </a:prstGeom>
          <a:solidFill>
            <a:schemeClr val="bg1">
              <a:lumMod val="85000"/>
            </a:schemeClr>
          </a:solidFill>
        </p:spPr>
        <p:txBody>
          <a:bodyPr wrap="square" rtlCol="0" anchor="ctr">
            <a:spAutoFit/>
          </a:bodyPr>
          <a:lstStyle/>
          <a:p>
            <a:pPr marL="182880" lvl="1" indent="-182880" defTabSz="622300">
              <a:spcBef>
                <a:spcPts val="295"/>
              </a:spcBef>
              <a:buClr>
                <a:schemeClr val="tx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共享科研平台，提高科研效率</a:t>
            </a:r>
          </a:p>
        </p:txBody>
      </p:sp>
      <p:sp>
        <p:nvSpPr>
          <p:cNvPr id="66" name="文本框 65">
            <a:extLst>
              <a:ext uri="{FF2B5EF4-FFF2-40B4-BE49-F238E27FC236}">
                <a16:creationId xmlns:a16="http://schemas.microsoft.com/office/drawing/2014/main" id="{90A1C00D-7726-415E-A226-C14797304A37}"/>
              </a:ext>
            </a:extLst>
          </p:cNvPr>
          <p:cNvSpPr txBox="1"/>
          <p:nvPr/>
        </p:nvSpPr>
        <p:spPr>
          <a:xfrm>
            <a:off x="8048682" y="1969392"/>
            <a:ext cx="2743200" cy="64008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利用全国大数据开展临床研究</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A1FC2BFF-A1B0-4D51-B67D-4665A86B5472}"/>
              </a:ext>
            </a:extLst>
          </p:cNvPr>
          <p:cNvGraphicFramePr>
            <a:graphicFrameLocks noChangeAspect="1"/>
          </p:cNvGraphicFramePr>
          <p:nvPr>
            <p:custDataLst>
              <p:tags r:id="rId1"/>
            </p:custDataLst>
            <p:extLst>
              <p:ext uri="{D42A27DB-BD31-4B8C-83A1-F6EECF244321}">
                <p14:modId xmlns:p14="http://schemas.microsoft.com/office/powerpoint/2010/main" val="2836455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36" name="Object 35" hidden="1">
                        <a:extLst>
                          <a:ext uri="{FF2B5EF4-FFF2-40B4-BE49-F238E27FC236}">
                            <a16:creationId xmlns:a16="http://schemas.microsoft.com/office/drawing/2014/main" id="{A1FC2BFF-A1B0-4D51-B67D-4665A86B5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Title 1">
            <a:extLst>
              <a:ext uri="{FF2B5EF4-FFF2-40B4-BE49-F238E27FC236}">
                <a16:creationId xmlns:a16="http://schemas.microsoft.com/office/drawing/2014/main" id="{E34F2698-B84F-4FBE-8E98-B47BB4551E34}"/>
              </a:ext>
            </a:extLst>
          </p:cNvPr>
          <p:cNvSpPr txBox="1">
            <a:spLocks/>
          </p:cNvSpPr>
          <p:nvPr/>
        </p:nvSpPr>
        <p:spPr>
          <a:xfrm>
            <a:off x="545231" y="834856"/>
            <a:ext cx="7144384"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r>
              <a:rPr lang="zh-CN" altLang="en-US" sz="2400" kern="0" dirty="0">
                <a:latin typeface="微软雅黑" panose="020B0503020204020204" pitchFamily="34" charset="-122"/>
                <a:ea typeface="微软雅黑" panose="020B0503020204020204" pitchFamily="34" charset="-122"/>
                <a:sym typeface="微软雅黑" panose="020B0503020204020204" pitchFamily="34" charset="-122"/>
              </a:rPr>
              <a:t>组织架构</a:t>
            </a:r>
          </a:p>
        </p:txBody>
      </p:sp>
      <p:cxnSp>
        <p:nvCxnSpPr>
          <p:cNvPr id="3" name="连接符: 肘形 2">
            <a:extLst>
              <a:ext uri="{FF2B5EF4-FFF2-40B4-BE49-F238E27FC236}">
                <a16:creationId xmlns:a16="http://schemas.microsoft.com/office/drawing/2014/main" id="{1B5D5378-F0EF-4EAE-B448-376F289704B8}"/>
              </a:ext>
            </a:extLst>
          </p:cNvPr>
          <p:cNvCxnSpPr>
            <a:cxnSpLocks/>
          </p:cNvCxnSpPr>
          <p:nvPr/>
        </p:nvCxnSpPr>
        <p:spPr>
          <a:xfrm flipV="1">
            <a:off x="5281402" y="2021642"/>
            <a:ext cx="1067766" cy="373961"/>
          </a:xfrm>
          <a:prstGeom prst="bentConnector3">
            <a:avLst>
              <a:gd name="adj1" fmla="val 50000"/>
            </a:avLst>
          </a:prstGeom>
          <a:ln>
            <a:solidFill>
              <a:srgbClr val="95373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连接符: 肘形 25">
            <a:extLst>
              <a:ext uri="{FF2B5EF4-FFF2-40B4-BE49-F238E27FC236}">
                <a16:creationId xmlns:a16="http://schemas.microsoft.com/office/drawing/2014/main" id="{3ECA341F-F75A-45E9-B4AA-E46ADBCE7407}"/>
              </a:ext>
            </a:extLst>
          </p:cNvPr>
          <p:cNvCxnSpPr>
            <a:cxnSpLocks/>
          </p:cNvCxnSpPr>
          <p:nvPr/>
        </p:nvCxnSpPr>
        <p:spPr>
          <a:xfrm>
            <a:off x="5281402" y="2395603"/>
            <a:ext cx="1082523" cy="324412"/>
          </a:xfrm>
          <a:prstGeom prst="bentConnector3">
            <a:avLst>
              <a:gd name="adj1" fmla="val 50000"/>
            </a:avLst>
          </a:prstGeom>
          <a:ln>
            <a:solidFill>
              <a:srgbClr val="95373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连接符: 肘形 30">
            <a:extLst>
              <a:ext uri="{FF2B5EF4-FFF2-40B4-BE49-F238E27FC236}">
                <a16:creationId xmlns:a16="http://schemas.microsoft.com/office/drawing/2014/main" id="{877ABDD9-419F-48D8-99A6-5FCAE44D1587}"/>
              </a:ext>
            </a:extLst>
          </p:cNvPr>
          <p:cNvCxnSpPr>
            <a:cxnSpLocks/>
          </p:cNvCxnSpPr>
          <p:nvPr/>
        </p:nvCxnSpPr>
        <p:spPr>
          <a:xfrm rot="5400000">
            <a:off x="2843440" y="2649083"/>
            <a:ext cx="1465868" cy="1378409"/>
          </a:xfrm>
          <a:prstGeom prst="bentConnector3">
            <a:avLst/>
          </a:prstGeom>
          <a:ln>
            <a:solidFill>
              <a:srgbClr val="A3162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连接符: 肘形 45">
            <a:extLst>
              <a:ext uri="{FF2B5EF4-FFF2-40B4-BE49-F238E27FC236}">
                <a16:creationId xmlns:a16="http://schemas.microsoft.com/office/drawing/2014/main" id="{70AFA8B0-37D0-49F4-8763-CA68D8016624}"/>
              </a:ext>
            </a:extLst>
          </p:cNvPr>
          <p:cNvCxnSpPr>
            <a:cxnSpLocks/>
          </p:cNvCxnSpPr>
          <p:nvPr/>
        </p:nvCxnSpPr>
        <p:spPr>
          <a:xfrm>
            <a:off x="4265577" y="3341682"/>
            <a:ext cx="5791201" cy="729538"/>
          </a:xfrm>
          <a:prstGeom prst="bentConnector3">
            <a:avLst>
              <a:gd name="adj1" fmla="val 99968"/>
            </a:avLst>
          </a:prstGeom>
          <a:ln>
            <a:solidFill>
              <a:srgbClr val="A3162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1D440A69-FE79-48DF-8AD8-C6ACC5ADAE62}"/>
              </a:ext>
            </a:extLst>
          </p:cNvPr>
          <p:cNvCxnSpPr>
            <a:cxnSpLocks/>
          </p:cNvCxnSpPr>
          <p:nvPr/>
        </p:nvCxnSpPr>
        <p:spPr>
          <a:xfrm>
            <a:off x="7161177" y="3338287"/>
            <a:ext cx="0" cy="732934"/>
          </a:xfrm>
          <a:prstGeom prst="straightConnector1">
            <a:avLst/>
          </a:prstGeom>
          <a:ln>
            <a:solidFill>
              <a:srgbClr val="A31620"/>
            </a:solidFill>
            <a:tailEnd type="triangle"/>
          </a:ln>
        </p:spPr>
        <p:style>
          <a:lnRef idx="1">
            <a:schemeClr val="accent1"/>
          </a:lnRef>
          <a:fillRef idx="0">
            <a:schemeClr val="accent1"/>
          </a:fillRef>
          <a:effectRef idx="0">
            <a:schemeClr val="accent1"/>
          </a:effectRef>
          <a:fontRef idx="minor">
            <a:schemeClr val="tx1"/>
          </a:fontRef>
        </p:style>
      </p:cxnSp>
      <p:grpSp>
        <p:nvGrpSpPr>
          <p:cNvPr id="94" name="组合 93">
            <a:extLst>
              <a:ext uri="{FF2B5EF4-FFF2-40B4-BE49-F238E27FC236}">
                <a16:creationId xmlns:a16="http://schemas.microsoft.com/office/drawing/2014/main" id="{510E8A4A-19AD-47BC-989C-22C96AB7D19A}"/>
              </a:ext>
            </a:extLst>
          </p:cNvPr>
          <p:cNvGrpSpPr/>
          <p:nvPr/>
        </p:nvGrpSpPr>
        <p:grpSpPr>
          <a:xfrm>
            <a:off x="6375333" y="1676401"/>
            <a:ext cx="1483054" cy="465776"/>
            <a:chOff x="3669260" y="4671892"/>
            <a:chExt cx="1102054" cy="465776"/>
          </a:xfrm>
        </p:grpSpPr>
        <p:sp>
          <p:nvSpPr>
            <p:cNvPr id="95" name="文本框 94">
              <a:extLst>
                <a:ext uri="{FF2B5EF4-FFF2-40B4-BE49-F238E27FC236}">
                  <a16:creationId xmlns:a16="http://schemas.microsoft.com/office/drawing/2014/main" id="{DD209F80-843A-4572-8B8D-C910C0C99C43}"/>
                </a:ext>
              </a:extLst>
            </p:cNvPr>
            <p:cNvSpPr txBox="1"/>
            <p:nvPr/>
          </p:nvSpPr>
          <p:spPr>
            <a:xfrm>
              <a:off x="3669260" y="4671892"/>
              <a:ext cx="1102054" cy="369332"/>
            </a:xfrm>
            <a:prstGeom prst="rect">
              <a:avLst/>
            </a:prstGeom>
            <a:noFill/>
            <a:ln>
              <a:solidFill>
                <a:srgbClr val="A31620"/>
              </a:solidFill>
            </a:ln>
          </p:spPr>
          <p:txBody>
            <a:bodyPr wrap="square" rtlCol="0">
              <a:spAutoFit/>
            </a:bodyPr>
            <a:lstStyle/>
            <a:p>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文本框 95">
              <a:extLst>
                <a:ext uri="{FF2B5EF4-FFF2-40B4-BE49-F238E27FC236}">
                  <a16:creationId xmlns:a16="http://schemas.microsoft.com/office/drawing/2014/main" id="{3A1A7F05-0191-4139-BE85-286F185819F1}"/>
                </a:ext>
              </a:extLst>
            </p:cNvPr>
            <p:cNvSpPr txBox="1"/>
            <p:nvPr/>
          </p:nvSpPr>
          <p:spPr>
            <a:xfrm>
              <a:off x="3724987" y="4768336"/>
              <a:ext cx="990600" cy="369332"/>
            </a:xfrm>
            <a:prstGeom prst="rect">
              <a:avLst/>
            </a:prstGeom>
            <a:noFill/>
          </p:spPr>
          <p:txBody>
            <a:bodyPr wrap="square" rtlCol="0">
              <a:spAutoFit/>
            </a:bodyPr>
            <a:lstStyle/>
            <a:p>
              <a:pPr algn="ctr"/>
              <a:r>
                <a:rPr lang="zh-CN" altLang="en-US"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主任</a:t>
              </a:r>
            </a:p>
          </p:txBody>
        </p:sp>
      </p:grpSp>
      <p:grpSp>
        <p:nvGrpSpPr>
          <p:cNvPr id="100" name="组合 99">
            <a:extLst>
              <a:ext uri="{FF2B5EF4-FFF2-40B4-BE49-F238E27FC236}">
                <a16:creationId xmlns:a16="http://schemas.microsoft.com/office/drawing/2014/main" id="{8774711B-6E09-4D8A-80BC-555C9C9F0BE7}"/>
              </a:ext>
            </a:extLst>
          </p:cNvPr>
          <p:cNvGrpSpPr/>
          <p:nvPr/>
        </p:nvGrpSpPr>
        <p:grpSpPr>
          <a:xfrm>
            <a:off x="6363925" y="2442202"/>
            <a:ext cx="1483054" cy="465776"/>
            <a:chOff x="3669260" y="4671892"/>
            <a:chExt cx="1102054" cy="465776"/>
          </a:xfrm>
        </p:grpSpPr>
        <p:sp>
          <p:nvSpPr>
            <p:cNvPr id="101" name="文本框 100">
              <a:extLst>
                <a:ext uri="{FF2B5EF4-FFF2-40B4-BE49-F238E27FC236}">
                  <a16:creationId xmlns:a16="http://schemas.microsoft.com/office/drawing/2014/main" id="{F6A3605F-6305-4648-BF71-E1D0AB0EC799}"/>
                </a:ext>
              </a:extLst>
            </p:cNvPr>
            <p:cNvSpPr txBox="1"/>
            <p:nvPr/>
          </p:nvSpPr>
          <p:spPr>
            <a:xfrm>
              <a:off x="3669260" y="4671892"/>
              <a:ext cx="1102054" cy="369332"/>
            </a:xfrm>
            <a:prstGeom prst="rect">
              <a:avLst/>
            </a:prstGeom>
            <a:noFill/>
            <a:ln>
              <a:solidFill>
                <a:srgbClr val="A31620"/>
              </a:solidFill>
            </a:ln>
          </p:spPr>
          <p:txBody>
            <a:bodyPr wrap="square" rtlCol="0">
              <a:spAutoFit/>
            </a:bodyPr>
            <a:lstStyle/>
            <a:p>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2" name="文本框 101">
              <a:extLst>
                <a:ext uri="{FF2B5EF4-FFF2-40B4-BE49-F238E27FC236}">
                  <a16:creationId xmlns:a16="http://schemas.microsoft.com/office/drawing/2014/main" id="{3CA99200-9F6A-47E7-B3DD-E238A65588AE}"/>
                </a:ext>
              </a:extLst>
            </p:cNvPr>
            <p:cNvSpPr txBox="1"/>
            <p:nvPr/>
          </p:nvSpPr>
          <p:spPr>
            <a:xfrm>
              <a:off x="3724987" y="4768336"/>
              <a:ext cx="990600" cy="369332"/>
            </a:xfrm>
            <a:prstGeom prst="rect">
              <a:avLst/>
            </a:prstGeom>
            <a:noFill/>
          </p:spPr>
          <p:txBody>
            <a:bodyPr wrap="square" rtlCol="0">
              <a:spAutoFit/>
            </a:bodyPr>
            <a:lstStyle/>
            <a:p>
              <a:pPr algn="ctr"/>
              <a:r>
                <a:rPr lang="zh-CN" altLang="en-US"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常务副主任</a:t>
              </a:r>
            </a:p>
          </p:txBody>
        </p:sp>
      </p:grpSp>
      <p:sp>
        <p:nvSpPr>
          <p:cNvPr id="105" name="文本框 104">
            <a:extLst>
              <a:ext uri="{FF2B5EF4-FFF2-40B4-BE49-F238E27FC236}">
                <a16:creationId xmlns:a16="http://schemas.microsoft.com/office/drawing/2014/main" id="{10A7B81A-63C1-49DB-976F-DC2302990558}"/>
              </a:ext>
            </a:extLst>
          </p:cNvPr>
          <p:cNvSpPr txBox="1"/>
          <p:nvPr/>
        </p:nvSpPr>
        <p:spPr>
          <a:xfrm>
            <a:off x="8042566" y="1798500"/>
            <a:ext cx="914400" cy="369332"/>
          </a:xfrm>
          <a:prstGeom prst="rect">
            <a:avLst/>
          </a:prstGeom>
          <a:noFill/>
        </p:spPr>
        <p:txBody>
          <a:bodyPr wrap="square">
            <a:spAutoFit/>
          </a:bodyPr>
          <a:lstStyle/>
          <a:p>
            <a:pPr algn="ct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李若瑜</a:t>
            </a:r>
          </a:p>
        </p:txBody>
      </p:sp>
      <p:sp>
        <p:nvSpPr>
          <p:cNvPr id="106" name="文本框 105">
            <a:extLst>
              <a:ext uri="{FF2B5EF4-FFF2-40B4-BE49-F238E27FC236}">
                <a16:creationId xmlns:a16="http://schemas.microsoft.com/office/drawing/2014/main" id="{2E516FFC-38FF-4804-B0EB-BB9F1EA0DF85}"/>
              </a:ext>
            </a:extLst>
          </p:cNvPr>
          <p:cNvSpPr txBox="1"/>
          <p:nvPr/>
        </p:nvSpPr>
        <p:spPr>
          <a:xfrm>
            <a:off x="8042566" y="2568315"/>
            <a:ext cx="914400" cy="369332"/>
          </a:xfrm>
          <a:prstGeom prst="rect">
            <a:avLst/>
          </a:prstGeom>
          <a:noFill/>
        </p:spPr>
        <p:txBody>
          <a:bodyPr wrap="square">
            <a:spAutoFit/>
          </a:bodyPr>
          <a:lstStyle/>
          <a:p>
            <a:pPr algn="ct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李航</a:t>
            </a:r>
          </a:p>
        </p:txBody>
      </p:sp>
      <p:sp>
        <p:nvSpPr>
          <p:cNvPr id="16" name="object 23">
            <a:extLst>
              <a:ext uri="{FF2B5EF4-FFF2-40B4-BE49-F238E27FC236}">
                <a16:creationId xmlns:a16="http://schemas.microsoft.com/office/drawing/2014/main" id="{593D481E-788B-4FEB-8B68-D56C49A201DC}"/>
              </a:ext>
            </a:extLst>
          </p:cNvPr>
          <p:cNvSpPr txBox="1"/>
          <p:nvPr/>
        </p:nvSpPr>
        <p:spPr>
          <a:xfrm>
            <a:off x="1828800" y="3775276"/>
            <a:ext cx="2103119" cy="351377"/>
          </a:xfrm>
          <a:prstGeom prst="rect">
            <a:avLst/>
          </a:prstGeom>
          <a:solidFill>
            <a:srgbClr val="8D2629"/>
          </a:solidFill>
        </p:spPr>
        <p:txBody>
          <a:bodyPr vert="horz" wrap="square" lIns="0" tIns="104139" rIns="0" bIns="0" rtlCol="0" anchor="ctr">
            <a:spAutoFit/>
          </a:bodyPr>
          <a:lstStyle/>
          <a:p>
            <a:pPr algn="ctr">
              <a:lnSpc>
                <a:spcPct val="100000"/>
              </a:lnSpc>
            </a:pPr>
            <a:r>
              <a:rPr sz="1600" b="1" dirty="0">
                <a:solidFill>
                  <a:srgbClr val="FFFFFF"/>
                </a:solidFill>
                <a:latin typeface="微软雅黑" panose="020B0503020204020204" pitchFamily="34" charset="-122"/>
                <a:ea typeface="微软雅黑" panose="020B0503020204020204" pitchFamily="34" charset="-122"/>
                <a:cs typeface="Noto Sans CJK JP Regular"/>
                <a:sym typeface="微软雅黑" panose="020B0503020204020204" pitchFamily="34" charset="-122"/>
              </a:rPr>
              <a:t>执行委员会</a:t>
            </a:r>
          </a:p>
        </p:txBody>
      </p:sp>
      <p:sp>
        <p:nvSpPr>
          <p:cNvPr id="18" name="object 30">
            <a:extLst>
              <a:ext uri="{FF2B5EF4-FFF2-40B4-BE49-F238E27FC236}">
                <a16:creationId xmlns:a16="http://schemas.microsoft.com/office/drawing/2014/main" id="{AA031E88-D209-4C28-B408-63677A80F098}"/>
              </a:ext>
            </a:extLst>
          </p:cNvPr>
          <p:cNvSpPr/>
          <p:nvPr/>
        </p:nvSpPr>
        <p:spPr>
          <a:xfrm>
            <a:off x="6324824" y="3630925"/>
            <a:ext cx="1645920" cy="640080"/>
          </a:xfrm>
          <a:custGeom>
            <a:avLst/>
            <a:gdLst/>
            <a:ahLst/>
            <a:cxnLst/>
            <a:rect l="l" t="t" r="r" b="b"/>
            <a:pathLst>
              <a:path w="1410970" h="407670">
                <a:moveTo>
                  <a:pt x="1410500" y="0"/>
                </a:moveTo>
                <a:lnTo>
                  <a:pt x="0" y="0"/>
                </a:lnTo>
                <a:lnTo>
                  <a:pt x="0" y="407568"/>
                </a:lnTo>
                <a:lnTo>
                  <a:pt x="1410500" y="407568"/>
                </a:lnTo>
                <a:lnTo>
                  <a:pt x="1410500" y="0"/>
                </a:lnTo>
                <a:close/>
              </a:path>
            </a:pathLst>
          </a:custGeom>
          <a:solidFill>
            <a:srgbClr val="8D2629"/>
          </a:solidFill>
        </p:spPr>
        <p:txBody>
          <a:bodyPr wrap="square" lIns="0" tIns="0" rIns="0" bIns="0" rtlCol="0" anchor="ctr"/>
          <a:lstStyle/>
          <a:p>
            <a:pPr algn="ct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学术委员会</a:t>
            </a:r>
            <a:endPar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en-US" altLang="zh-CN"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专家顾问团）</a:t>
            </a:r>
            <a:endParaRPr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object 41">
            <a:extLst>
              <a:ext uri="{FF2B5EF4-FFF2-40B4-BE49-F238E27FC236}">
                <a16:creationId xmlns:a16="http://schemas.microsoft.com/office/drawing/2014/main" id="{7E31B0E2-E776-400F-8A00-B24AD4C7627B}"/>
              </a:ext>
            </a:extLst>
          </p:cNvPr>
          <p:cNvSpPr txBox="1"/>
          <p:nvPr/>
        </p:nvSpPr>
        <p:spPr>
          <a:xfrm>
            <a:off x="9010793" y="3776236"/>
            <a:ext cx="2078352" cy="349455"/>
          </a:xfrm>
          <a:prstGeom prst="rect">
            <a:avLst/>
          </a:prstGeom>
          <a:solidFill>
            <a:srgbClr val="8D2629"/>
          </a:solidFill>
        </p:spPr>
        <p:txBody>
          <a:bodyPr vert="horz" wrap="square" lIns="0" tIns="102235" rIns="0" bIns="0" rtlCol="0" anchor="ctr">
            <a:spAutoFit/>
          </a:bodyPr>
          <a:lstStyle/>
          <a:p>
            <a:pPr algn="ctr">
              <a:lnSpc>
                <a:spcPct val="100000"/>
              </a:lnSpc>
            </a:pPr>
            <a:r>
              <a:rPr sz="1600" b="1" dirty="0">
                <a:solidFill>
                  <a:srgbClr val="FFFFFF"/>
                </a:solidFill>
                <a:latin typeface="微软雅黑" panose="020B0503020204020204" pitchFamily="34" charset="-122"/>
                <a:ea typeface="微软雅黑" panose="020B0503020204020204" pitchFamily="34" charset="-122"/>
                <a:cs typeface="Noto Sans CJK JP Regular"/>
                <a:sym typeface="微软雅黑" panose="020B0503020204020204" pitchFamily="34" charset="-122"/>
              </a:rPr>
              <a:t>课题管理委员会</a:t>
            </a:r>
          </a:p>
        </p:txBody>
      </p:sp>
      <p:cxnSp>
        <p:nvCxnSpPr>
          <p:cNvPr id="54" name="连接符: 肘形 53">
            <a:extLst>
              <a:ext uri="{FF2B5EF4-FFF2-40B4-BE49-F238E27FC236}">
                <a16:creationId xmlns:a16="http://schemas.microsoft.com/office/drawing/2014/main" id="{78250EA0-C055-4543-8A41-F425568FFF21}"/>
              </a:ext>
            </a:extLst>
          </p:cNvPr>
          <p:cNvCxnSpPr>
            <a:cxnSpLocks/>
            <a:stCxn id="16" idx="2"/>
          </p:cNvCxnSpPr>
          <p:nvPr/>
        </p:nvCxnSpPr>
        <p:spPr>
          <a:xfrm rot="16200000" flipH="1">
            <a:off x="2665254" y="4341758"/>
            <a:ext cx="706570" cy="276359"/>
          </a:xfrm>
          <a:prstGeom prst="bentConnector3">
            <a:avLst>
              <a:gd name="adj1" fmla="val 50000"/>
            </a:avLst>
          </a:prstGeom>
          <a:ln>
            <a:solidFill>
              <a:srgbClr val="A31620"/>
            </a:solidFill>
            <a:tailEnd type="triangle"/>
          </a:ln>
        </p:spPr>
        <p:style>
          <a:lnRef idx="1">
            <a:schemeClr val="accent1"/>
          </a:lnRef>
          <a:fillRef idx="0">
            <a:schemeClr val="accent1"/>
          </a:fillRef>
          <a:effectRef idx="0">
            <a:schemeClr val="accent1"/>
          </a:effectRef>
          <a:fontRef idx="minor">
            <a:schemeClr val="tx1"/>
          </a:fontRef>
        </p:style>
      </p:cxnSp>
      <p:grpSp>
        <p:nvGrpSpPr>
          <p:cNvPr id="66" name="组合 65">
            <a:extLst>
              <a:ext uri="{FF2B5EF4-FFF2-40B4-BE49-F238E27FC236}">
                <a16:creationId xmlns:a16="http://schemas.microsoft.com/office/drawing/2014/main" id="{2AA08E14-15E6-45B9-832E-287C10AAFCA1}"/>
              </a:ext>
            </a:extLst>
          </p:cNvPr>
          <p:cNvGrpSpPr/>
          <p:nvPr/>
        </p:nvGrpSpPr>
        <p:grpSpPr>
          <a:xfrm>
            <a:off x="3156716" y="4552114"/>
            <a:ext cx="1102054" cy="465776"/>
            <a:chOff x="3669260" y="4671892"/>
            <a:chExt cx="1102054" cy="465776"/>
          </a:xfrm>
        </p:grpSpPr>
        <p:sp>
          <p:nvSpPr>
            <p:cNvPr id="62" name="文本框 61">
              <a:extLst>
                <a:ext uri="{FF2B5EF4-FFF2-40B4-BE49-F238E27FC236}">
                  <a16:creationId xmlns:a16="http://schemas.microsoft.com/office/drawing/2014/main" id="{DC8DDBAC-A393-4F1B-A358-3E1B2E04EE06}"/>
                </a:ext>
              </a:extLst>
            </p:cNvPr>
            <p:cNvSpPr txBox="1"/>
            <p:nvPr/>
          </p:nvSpPr>
          <p:spPr>
            <a:xfrm>
              <a:off x="3669260" y="4671892"/>
              <a:ext cx="1102054" cy="369332"/>
            </a:xfrm>
            <a:prstGeom prst="rect">
              <a:avLst/>
            </a:prstGeom>
            <a:noFill/>
            <a:ln>
              <a:solidFill>
                <a:srgbClr val="A31620"/>
              </a:solidFill>
            </a:ln>
          </p:spPr>
          <p:txBody>
            <a:bodyPr wrap="square" rtlCol="0">
              <a:spAutoFit/>
            </a:bodyPr>
            <a:lstStyle/>
            <a:p>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文本框 62">
              <a:extLst>
                <a:ext uri="{FF2B5EF4-FFF2-40B4-BE49-F238E27FC236}">
                  <a16:creationId xmlns:a16="http://schemas.microsoft.com/office/drawing/2014/main" id="{08FAE911-2AE7-4234-B445-B82349F324B9}"/>
                </a:ext>
              </a:extLst>
            </p:cNvPr>
            <p:cNvSpPr txBox="1"/>
            <p:nvPr/>
          </p:nvSpPr>
          <p:spPr>
            <a:xfrm>
              <a:off x="3724987" y="4768336"/>
              <a:ext cx="990600" cy="369332"/>
            </a:xfrm>
            <a:prstGeom prst="rect">
              <a:avLst/>
            </a:prstGeom>
            <a:noFill/>
          </p:spPr>
          <p:txBody>
            <a:bodyPr wrap="square" rtlCol="0">
              <a:spAutoFit/>
            </a:bodyPr>
            <a:lstStyle/>
            <a:p>
              <a:pPr algn="ctr"/>
              <a:r>
                <a:rPr lang="zh-CN" altLang="en-US"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总干事</a:t>
              </a:r>
            </a:p>
          </p:txBody>
        </p:sp>
      </p:grpSp>
      <p:sp>
        <p:nvSpPr>
          <p:cNvPr id="107" name="文本框 106">
            <a:extLst>
              <a:ext uri="{FF2B5EF4-FFF2-40B4-BE49-F238E27FC236}">
                <a16:creationId xmlns:a16="http://schemas.microsoft.com/office/drawing/2014/main" id="{B821AC67-B27A-4140-9E17-236D84B7A685}"/>
              </a:ext>
            </a:extLst>
          </p:cNvPr>
          <p:cNvSpPr txBox="1"/>
          <p:nvPr/>
        </p:nvSpPr>
        <p:spPr>
          <a:xfrm>
            <a:off x="3573194" y="5237137"/>
            <a:ext cx="914400" cy="369332"/>
          </a:xfrm>
          <a:prstGeom prst="rect">
            <a:avLst/>
          </a:prstGeom>
          <a:noFill/>
        </p:spPr>
        <p:txBody>
          <a:bodyPr wrap="square">
            <a:spAutoFit/>
          </a:bodyPr>
          <a:lstStyle/>
          <a:p>
            <a:pPr algn="ct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汪旸</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6" name="文本框 115">
            <a:extLst>
              <a:ext uri="{FF2B5EF4-FFF2-40B4-BE49-F238E27FC236}">
                <a16:creationId xmlns:a16="http://schemas.microsoft.com/office/drawing/2014/main" id="{7812EBEB-3962-4776-87FD-08DD1ECA3CA8}"/>
              </a:ext>
            </a:extLst>
          </p:cNvPr>
          <p:cNvSpPr txBox="1"/>
          <p:nvPr/>
        </p:nvSpPr>
        <p:spPr>
          <a:xfrm>
            <a:off x="5644205" y="4436918"/>
            <a:ext cx="3193930" cy="1969770"/>
          </a:xfrm>
          <a:prstGeom prst="rect">
            <a:avLst/>
          </a:prstGeom>
          <a:noFill/>
        </p:spPr>
        <p:txBody>
          <a:bodyPr wrap="square">
            <a:spAutoFit/>
          </a:bodyPr>
          <a:lstStyle/>
          <a:p>
            <a:pPr algn="ct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高兴华</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顾恒</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顾军</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郝飞</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李斌</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李恒进</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李巍</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梁云生</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陆前进</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罗晓燕</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马琳</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宋志强</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王刚</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王华 徐金华</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杨斌</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姚煦</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姚</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志</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荣</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于波</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张春雷</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张建中</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郑捷</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郑敏</a:t>
            </a:r>
            <a:r>
              <a:rPr lang="en-US" altLang="zh-CN" dirty="0">
                <a:latin typeface="微软雅黑" panose="020B0503020204020204" pitchFamily="34" charset="-122"/>
                <a:ea typeface="微软雅黑" panose="020B0503020204020204" pitchFamily="34" charset="-122"/>
                <a:sym typeface="微软雅黑" panose="020B0503020204020204" pitchFamily="34" charset="-122"/>
              </a:rPr>
              <a:t>   </a:t>
            </a:r>
          </a:p>
          <a:p>
            <a:pPr algn="ctr"/>
            <a:r>
              <a:rPr lang="zh-CN" altLang="en-US" sz="1400" i="1" u="sng" dirty="0">
                <a:latin typeface="微软雅黑" panose="020B0503020204020204" pitchFamily="34" charset="-122"/>
                <a:ea typeface="微软雅黑" panose="020B0503020204020204" pitchFamily="34" charset="-122"/>
                <a:sym typeface="微软雅黑" panose="020B0503020204020204" pitchFamily="34" charset="-122"/>
              </a:rPr>
              <a:t>（*按首字母拼音排序）</a:t>
            </a:r>
          </a:p>
        </p:txBody>
      </p:sp>
      <p:sp>
        <p:nvSpPr>
          <p:cNvPr id="2" name="Rectangle 1">
            <a:extLst>
              <a:ext uri="{FF2B5EF4-FFF2-40B4-BE49-F238E27FC236}">
                <a16:creationId xmlns:a16="http://schemas.microsoft.com/office/drawing/2014/main" id="{62EB21F4-7601-409A-9A29-BD4D6959051A}"/>
              </a:ext>
            </a:extLst>
          </p:cNvPr>
          <p:cNvSpPr/>
          <p:nvPr/>
        </p:nvSpPr>
        <p:spPr>
          <a:xfrm>
            <a:off x="3137039" y="5255099"/>
            <a:ext cx="646331" cy="369332"/>
          </a:xfrm>
          <a:prstGeom prst="rect">
            <a:avLst/>
          </a:prstGeom>
          <a:noFill/>
        </p:spPr>
        <p:txBody>
          <a:bodyPr wrap="none">
            <a:spAutoFit/>
          </a:bodyPr>
          <a:lstStyle/>
          <a:p>
            <a:pPr algn="ctr"/>
            <a:r>
              <a:rPr lang="zh-CN" altLang="zh-CN" dirty="0">
                <a:latin typeface="微软雅黑" panose="020B0503020204020204" pitchFamily="34" charset="-122"/>
                <a:ea typeface="微软雅黑" panose="020B0503020204020204" pitchFamily="34" charset="-122"/>
                <a:sym typeface="微软雅黑" panose="020B0503020204020204" pitchFamily="34" charset="-122"/>
              </a:rPr>
              <a:t>窦侠</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7" name="组合 26">
            <a:extLst>
              <a:ext uri="{FF2B5EF4-FFF2-40B4-BE49-F238E27FC236}">
                <a16:creationId xmlns:a16="http://schemas.microsoft.com/office/drawing/2014/main" id="{D3BF019A-15C6-4AB0-ADC1-AE62783B43E5}"/>
              </a:ext>
            </a:extLst>
          </p:cNvPr>
          <p:cNvGrpSpPr/>
          <p:nvPr/>
        </p:nvGrpSpPr>
        <p:grpSpPr>
          <a:xfrm>
            <a:off x="3274978" y="1676400"/>
            <a:ext cx="2103120" cy="1328021"/>
            <a:chOff x="2209800" y="1637277"/>
            <a:chExt cx="2103120" cy="1297548"/>
          </a:xfrm>
        </p:grpSpPr>
        <p:sp>
          <p:nvSpPr>
            <p:cNvPr id="11" name="object 13">
              <a:extLst>
                <a:ext uri="{FF2B5EF4-FFF2-40B4-BE49-F238E27FC236}">
                  <a16:creationId xmlns:a16="http://schemas.microsoft.com/office/drawing/2014/main" id="{6B05A55C-16D5-4A93-8CB7-C525743D3FF9}"/>
                </a:ext>
              </a:extLst>
            </p:cNvPr>
            <p:cNvSpPr/>
            <p:nvPr/>
          </p:nvSpPr>
          <p:spPr>
            <a:xfrm>
              <a:off x="2209800" y="1637277"/>
              <a:ext cx="2103120" cy="1297548"/>
            </a:xfrm>
            <a:custGeom>
              <a:avLst/>
              <a:gdLst/>
              <a:ahLst/>
              <a:cxnLst/>
              <a:rect l="l" t="t" r="r" b="b"/>
              <a:pathLst>
                <a:path w="1083310" h="840739">
                  <a:moveTo>
                    <a:pt x="1083132" y="0"/>
                  </a:moveTo>
                  <a:lnTo>
                    <a:pt x="0" y="0"/>
                  </a:lnTo>
                  <a:lnTo>
                    <a:pt x="0" y="840727"/>
                  </a:lnTo>
                  <a:lnTo>
                    <a:pt x="1083132" y="840727"/>
                  </a:lnTo>
                  <a:lnTo>
                    <a:pt x="1083132" y="0"/>
                  </a:lnTo>
                  <a:close/>
                </a:path>
              </a:pathLst>
            </a:custGeom>
            <a:solidFill>
              <a:srgbClr val="8D2629"/>
            </a:solidFill>
          </p:spPr>
          <p:txBody>
            <a:bodyPr wrap="square" lIns="0" tIns="0" rIns="0" bIns="0" rtlCol="0"/>
            <a:lstStyle/>
            <a:p>
              <a:endParaRPr>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object 15">
              <a:extLst>
                <a:ext uri="{FF2B5EF4-FFF2-40B4-BE49-F238E27FC236}">
                  <a16:creationId xmlns:a16="http://schemas.microsoft.com/office/drawing/2014/main" id="{0496B1C4-0A68-449D-9542-AC2A5278708A}"/>
                </a:ext>
              </a:extLst>
            </p:cNvPr>
            <p:cNvSpPr txBox="1"/>
            <p:nvPr/>
          </p:nvSpPr>
          <p:spPr>
            <a:xfrm>
              <a:off x="2314128" y="1912673"/>
              <a:ext cx="1894463" cy="751488"/>
            </a:xfrm>
            <a:prstGeom prst="rect">
              <a:avLst/>
            </a:prstGeom>
          </p:spPr>
          <p:txBody>
            <a:bodyPr vert="horz" wrap="square" lIns="0" tIns="12700" rIns="0" bIns="0" rtlCol="0">
              <a:spAutoFit/>
            </a:bodyPr>
            <a:lstStyle/>
            <a:p>
              <a:pPr algn="ctr">
                <a:lnSpc>
                  <a:spcPct val="100000"/>
                </a:lnSpc>
                <a:spcBef>
                  <a:spcPts val="100"/>
                </a:spcBef>
              </a:pPr>
              <a:r>
                <a:rPr lang="zh-CN" altLang="en-US" sz="1600"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中国</a:t>
              </a:r>
              <a:r>
                <a:rPr lang="en-US" altLang="zh-CN" sz="1600"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2</a:t>
              </a:r>
              <a:r>
                <a:rPr lang="zh-CN" altLang="en-US" sz="1600" dirty="0">
                  <a:solidFill>
                    <a:schemeClr val="bg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型炎症皮肤病临床研究与均质化诊疗项目</a:t>
              </a:r>
              <a:r>
                <a:rPr sz="1600" dirty="0" err="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主任委员</a:t>
              </a:r>
              <a:endParaRPr sz="16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Tree>
    <p:extLst>
      <p:ext uri="{BB962C8B-B14F-4D97-AF65-F5344CB8AC3E}">
        <p14:creationId xmlns:p14="http://schemas.microsoft.com/office/powerpoint/2010/main" val="3740229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6CA08729-2101-48B4-BD5E-2DA2B6D20CC8}"/>
              </a:ext>
            </a:extLst>
          </p:cNvPr>
          <p:cNvGraphicFramePr>
            <a:graphicFrameLocks noChangeAspect="1"/>
          </p:cNvGraphicFramePr>
          <p:nvPr>
            <p:custDataLst>
              <p:tags r:id="rId1"/>
            </p:custDataLst>
            <p:extLst>
              <p:ext uri="{D42A27DB-BD31-4B8C-83A1-F6EECF244321}">
                <p14:modId xmlns:p14="http://schemas.microsoft.com/office/powerpoint/2010/main" val="91845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0" imgH="469" progId="TCLayout.ActiveDocument.1">
                  <p:embed/>
                </p:oleObj>
              </mc:Choice>
              <mc:Fallback>
                <p:oleObj name="think-cell 幻灯片" r:id="rId4" imgW="470" imgH="469" progId="TCLayout.ActiveDocument.1">
                  <p:embed/>
                  <p:pic>
                    <p:nvPicPr>
                      <p:cNvPr id="4" name="对象 3" hidden="1">
                        <a:extLst>
                          <a:ext uri="{FF2B5EF4-FFF2-40B4-BE49-F238E27FC236}">
                            <a16:creationId xmlns:a16="http://schemas.microsoft.com/office/drawing/2014/main" id="{6CA08729-2101-48B4-BD5E-2DA2B6D20C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6F44B907-3B24-46D6-9BF0-0BF433BA12C3}"/>
              </a:ext>
            </a:extLst>
          </p:cNvPr>
          <p:cNvSpPr txBox="1">
            <a:spLocks/>
          </p:cNvSpPr>
          <p:nvPr/>
        </p:nvSpPr>
        <p:spPr>
          <a:xfrm>
            <a:off x="545231" y="834856"/>
            <a:ext cx="7144384" cy="369332"/>
          </a:xfrm>
          <a:prstGeom prst="rect">
            <a:avLst/>
          </a:prstGeom>
        </p:spPr>
        <p:txBody>
          <a:bodyPr vert="horz" wrap="square" lIns="0" tIns="0" rIns="0" bIns="0">
            <a:spAutoFit/>
          </a:bodyPr>
          <a:lstStyle>
            <a:lvl1pPr>
              <a:defRPr sz="2000" b="1" i="0">
                <a:solidFill>
                  <a:srgbClr val="A9222C"/>
                </a:solidFill>
                <a:latin typeface="Microsoft YaHei"/>
                <a:ea typeface="+mj-ea"/>
                <a:cs typeface="Microsoft YaHei"/>
              </a:defRPr>
            </a:lvl1pPr>
          </a:lstStyle>
          <a:p>
            <a:r>
              <a:rPr lang="zh-CN" altLang="en-US" sz="2400" kern="0" dirty="0">
                <a:latin typeface="微软雅黑" panose="020B0503020204020204" pitchFamily="34" charset="-122"/>
                <a:ea typeface="微软雅黑" panose="020B0503020204020204" pitchFamily="34" charset="-122"/>
                <a:sym typeface="微软雅黑" panose="020B0503020204020204" pitchFamily="34" charset="-122"/>
              </a:rPr>
              <a:t>项目专属公众号及网站</a:t>
            </a:r>
          </a:p>
        </p:txBody>
      </p:sp>
      <p:pic>
        <p:nvPicPr>
          <p:cNvPr id="8" name="图片 7">
            <a:extLst>
              <a:ext uri="{FF2B5EF4-FFF2-40B4-BE49-F238E27FC236}">
                <a16:creationId xmlns:a16="http://schemas.microsoft.com/office/drawing/2014/main" id="{B911B050-BE9F-4F41-B32B-778E952C683E}"/>
              </a:ext>
            </a:extLst>
          </p:cNvPr>
          <p:cNvPicPr/>
          <p:nvPr/>
        </p:nvPicPr>
        <p:blipFill rotWithShape="1">
          <a:blip r:embed="rId6" cstate="print">
            <a:extLst>
              <a:ext uri="{28A0092B-C50C-407E-A947-70E740481C1C}">
                <a14:useLocalDpi xmlns:a14="http://schemas.microsoft.com/office/drawing/2010/main" val="0"/>
              </a:ext>
            </a:extLst>
          </a:blip>
          <a:srcRect l="15533" r="18446" b="1033"/>
          <a:stretch/>
        </p:blipFill>
        <p:spPr bwMode="auto">
          <a:xfrm>
            <a:off x="228600" y="2080591"/>
            <a:ext cx="7239000" cy="4505341"/>
          </a:xfrm>
          <a:prstGeom prst="rect">
            <a:avLst/>
          </a:prstGeom>
          <a:noFill/>
          <a:ln>
            <a:noFill/>
          </a:ln>
        </p:spPr>
      </p:pic>
      <p:sp>
        <p:nvSpPr>
          <p:cNvPr id="10" name="TextBox 40">
            <a:extLst>
              <a:ext uri="{FF2B5EF4-FFF2-40B4-BE49-F238E27FC236}">
                <a16:creationId xmlns:a16="http://schemas.microsoft.com/office/drawing/2014/main" id="{9FDC68E0-391C-4FF1-8232-2A629BEB86A2}"/>
              </a:ext>
            </a:extLst>
          </p:cNvPr>
          <p:cNvSpPr txBox="1"/>
          <p:nvPr/>
        </p:nvSpPr>
        <p:spPr>
          <a:xfrm>
            <a:off x="346193" y="1457723"/>
            <a:ext cx="7003814" cy="369332"/>
          </a:xfrm>
          <a:prstGeom prst="rect">
            <a:avLst/>
          </a:prstGeom>
          <a:noFill/>
        </p:spPr>
        <p:txBody>
          <a:bodyPr wrap="square" rtlCol="0" anchor="ctr">
            <a:spAutoFit/>
          </a:bodyPr>
          <a:lstStyle/>
          <a:p>
            <a:pPr marL="285750" lvl="1" indent="-285750" defTabSz="622300">
              <a:buClr>
                <a:schemeClr val="tx1"/>
              </a:buClr>
              <a:buFont typeface="Wingdings" panose="05000000000000000000" pitchFamily="2" charset="2"/>
              <a:buChar char="Ø"/>
            </a:pPr>
            <a:r>
              <a:rPr lang="zh-CN" altLang="en-US" dirty="0">
                <a:latin typeface="微软雅黑" panose="020B0503020204020204" pitchFamily="34" charset="-122"/>
                <a:ea typeface="微软雅黑" panose="020B0503020204020204" pitchFamily="34" charset="-122"/>
                <a:cs typeface="+mn-ea"/>
                <a:sym typeface="微软雅黑" panose="020B0503020204020204" pitchFamily="34" charset="-122"/>
              </a:rPr>
              <a:t>扩大全国协作单位皮肤科建设的宣传范围及影响力</a:t>
            </a:r>
            <a:endParaRPr lang="en-US" altLang="zh-CN"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pic>
        <p:nvPicPr>
          <p:cNvPr id="3" name="图片 2" descr="文本&#10;&#10;描述已自动生成">
            <a:extLst>
              <a:ext uri="{FF2B5EF4-FFF2-40B4-BE49-F238E27FC236}">
                <a16:creationId xmlns:a16="http://schemas.microsoft.com/office/drawing/2014/main" id="{0944FC12-097B-4884-BA86-774A1C65F95D}"/>
              </a:ext>
            </a:extLst>
          </p:cNvPr>
          <p:cNvPicPr>
            <a:picLocks noChangeAspect="1"/>
          </p:cNvPicPr>
          <p:nvPr/>
        </p:nvPicPr>
        <p:blipFill rotWithShape="1">
          <a:blip r:embed="rId7">
            <a:extLst>
              <a:ext uri="{28A0092B-C50C-407E-A947-70E740481C1C}">
                <a14:useLocalDpi xmlns:a14="http://schemas.microsoft.com/office/drawing/2010/main" val="0"/>
              </a:ext>
            </a:extLst>
          </a:blip>
          <a:srcRect t="3811"/>
          <a:stretch/>
        </p:blipFill>
        <p:spPr>
          <a:xfrm>
            <a:off x="7924800" y="130666"/>
            <a:ext cx="2920181" cy="6596668"/>
          </a:xfrm>
          <a:prstGeom prst="rect">
            <a:avLst/>
          </a:prstGeom>
        </p:spPr>
      </p:pic>
    </p:spTree>
    <p:extLst>
      <p:ext uri="{BB962C8B-B14F-4D97-AF65-F5344CB8AC3E}">
        <p14:creationId xmlns:p14="http://schemas.microsoft.com/office/powerpoint/2010/main" val="3395827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82591286"/>
              </p:ext>
            </p:extLst>
          </p:nvPr>
        </p:nvGraphicFramePr>
        <p:xfrm>
          <a:off x="1525191" y="858441"/>
          <a:ext cx="1190" cy="1190"/>
        </p:xfrm>
        <a:graphic>
          <a:graphicData uri="http://schemas.openxmlformats.org/presentationml/2006/ole">
            <mc:AlternateContent xmlns:mc="http://schemas.openxmlformats.org/markup-compatibility/2006">
              <mc:Choice xmlns:v="urn:schemas-microsoft-com:vml" Requires="v">
                <p:oleObj name="think-cell 幻灯片" r:id="rId4" imgW="216" imgH="216" progId="TCLayout.ActiveDocument.1">
                  <p:embed/>
                </p:oleObj>
              </mc:Choice>
              <mc:Fallback>
                <p:oleObj name="think-cell 幻灯片" r:id="rId4" imgW="216" imgH="216" progId="TCLayout.ActiveDocument.1">
                  <p:embed/>
                  <p:pic>
                    <p:nvPicPr>
                      <p:cNvPr id="2" name="Object 1" hidden="1"/>
                      <p:cNvPicPr/>
                      <p:nvPr/>
                    </p:nvPicPr>
                    <p:blipFill>
                      <a:blip r:embed="rId5"/>
                      <a:stretch>
                        <a:fillRect/>
                      </a:stretch>
                    </p:blipFill>
                    <p:spPr>
                      <a:xfrm>
                        <a:off x="1525191" y="858441"/>
                        <a:ext cx="1190" cy="1190"/>
                      </a:xfrm>
                      <a:prstGeom prst="rect">
                        <a:avLst/>
                      </a:prstGeom>
                    </p:spPr>
                  </p:pic>
                </p:oleObj>
              </mc:Fallback>
            </mc:AlternateContent>
          </a:graphicData>
        </a:graphic>
      </p:graphicFrame>
      <p:sp>
        <p:nvSpPr>
          <p:cNvPr id="9" name="Rectangle 5"/>
          <p:cNvSpPr/>
          <p:nvPr/>
        </p:nvSpPr>
        <p:spPr>
          <a:xfrm>
            <a:off x="3657600" y="2274303"/>
            <a:ext cx="8534400" cy="6858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fontAlgn="base">
              <a:spcBef>
                <a:spcPts val="150"/>
              </a:spcBef>
              <a:spcAft>
                <a:spcPct val="0"/>
              </a:spcAft>
              <a:defRPr/>
            </a:pPr>
            <a:endParaRPr lang="zh-CN" altLang="en-US" sz="105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Text Placeholder 4"/>
          <p:cNvSpPr>
            <a:spLocks noGrp="1"/>
          </p:cNvSpPr>
          <p:nvPr>
            <p:ph type="body" sz="quarter" idx="11"/>
          </p:nvPr>
        </p:nvSpPr>
        <p:spPr>
          <a:xfrm>
            <a:off x="4038600" y="1639307"/>
            <a:ext cx="6553200" cy="1955792"/>
          </a:xfrm>
          <a:prstGeom prst="rect">
            <a:avLst/>
          </a:prstGeom>
        </p:spPr>
        <p:txBody>
          <a:bodyPr/>
          <a:lstStyle/>
          <a:p>
            <a:pPr>
              <a:lnSpc>
                <a:spcPct val="150000"/>
              </a:lnSpc>
              <a:spcBef>
                <a:spcPts val="1350"/>
              </a:spcBef>
              <a:buClr>
                <a:schemeClr val="bg2">
                  <a:lumMod val="50000"/>
                </a:schemeClr>
              </a:buClr>
            </a:pPr>
            <a:r>
              <a:rPr lang="zh-CN" altLang="en-US"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 项目背景和目标</a:t>
            </a:r>
            <a:endParaRPr lang="en-US" altLang="zh-CN"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 协作单位认证框架及流程</a:t>
            </a:r>
            <a:endParaRPr lang="en-US" altLang="zh-CN" sz="2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spcBef>
                <a:spcPts val="1350"/>
              </a:spcBef>
              <a:buClr>
                <a:schemeClr val="bg2">
                  <a:lumMod val="50000"/>
                </a:schemeClr>
              </a:buClr>
            </a:pPr>
            <a:r>
              <a:rPr lang="zh-CN" altLang="en-US"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rPr>
              <a:t> 协作单位认证评分标准</a:t>
            </a:r>
            <a:endParaRPr lang="en-US" altLang="zh-CN" sz="2400" dirty="0">
              <a:solidFill>
                <a:schemeClr val="bg1">
                  <a:lumMod val="6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3148091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D1D96B86-D13E-487B-A5B2-45E39F4F2AB1}"/>
              </a:ext>
            </a:extLst>
          </p:cNvPr>
          <p:cNvGraphicFramePr>
            <a:graphicFrameLocks noChangeAspect="1"/>
          </p:cNvGraphicFramePr>
          <p:nvPr>
            <p:custDataLst>
              <p:tags r:id="rId1"/>
            </p:custDataLst>
            <p:extLst>
              <p:ext uri="{D42A27DB-BD31-4B8C-83A1-F6EECF244321}">
                <p14:modId xmlns:p14="http://schemas.microsoft.com/office/powerpoint/2010/main" val="1365037902"/>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63" name="Object 62" hidden="1">
                        <a:extLst>
                          <a:ext uri="{FF2B5EF4-FFF2-40B4-BE49-F238E27FC236}">
                            <a16:creationId xmlns:a16="http://schemas.microsoft.com/office/drawing/2014/main" id="{D1D96B86-D13E-487B-A5B2-45E39F4F2AB1}"/>
                          </a:ext>
                        </a:extLst>
                      </p:cNvPr>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59" name="Rectangle 58" hidden="1">
            <a:extLst>
              <a:ext uri="{FF2B5EF4-FFF2-40B4-BE49-F238E27FC236}">
                <a16:creationId xmlns:a16="http://schemas.microsoft.com/office/drawing/2014/main" id="{F0E6CFCD-1A46-4066-9B7F-C19661B6F59B}"/>
              </a:ext>
            </a:extLst>
          </p:cNvPr>
          <p:cNvSpPr/>
          <p:nvPr>
            <p:custDataLst>
              <p:tags r:id="rId2"/>
            </p:custDataLst>
          </p:nvPr>
        </p:nvSpPr>
        <p:spPr>
          <a:xfrm>
            <a:off x="1524001" y="857251"/>
            <a:ext cx="119063" cy="119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箭头: 右 16">
            <a:extLst>
              <a:ext uri="{FF2B5EF4-FFF2-40B4-BE49-F238E27FC236}">
                <a16:creationId xmlns:a16="http://schemas.microsoft.com/office/drawing/2014/main" id="{95168AFD-8E18-4DF5-8F0B-80DDEBDED293}"/>
              </a:ext>
            </a:extLst>
          </p:cNvPr>
          <p:cNvSpPr/>
          <p:nvPr/>
        </p:nvSpPr>
        <p:spPr>
          <a:xfrm>
            <a:off x="0" y="2893419"/>
            <a:ext cx="11738394" cy="848147"/>
          </a:xfrm>
          <a:prstGeom prst="rightArrow">
            <a:avLst>
              <a:gd name="adj1" fmla="val 50000"/>
              <a:gd name="adj2" fmla="val 58546"/>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8" name="椭圆 17">
            <a:extLst>
              <a:ext uri="{FF2B5EF4-FFF2-40B4-BE49-F238E27FC236}">
                <a16:creationId xmlns:a16="http://schemas.microsoft.com/office/drawing/2014/main" id="{A49C0705-AD90-47EF-A6C6-7B514FB0A0EF}"/>
              </a:ext>
            </a:extLst>
          </p:cNvPr>
          <p:cNvSpPr/>
          <p:nvPr/>
        </p:nvSpPr>
        <p:spPr>
          <a:xfrm>
            <a:off x="1095871" y="3144805"/>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21" name="直接连接符 20">
            <a:extLst>
              <a:ext uri="{FF2B5EF4-FFF2-40B4-BE49-F238E27FC236}">
                <a16:creationId xmlns:a16="http://schemas.microsoft.com/office/drawing/2014/main" id="{A3DF88FD-059B-48EA-919E-3560EB541514}"/>
              </a:ext>
            </a:extLst>
          </p:cNvPr>
          <p:cNvCxnSpPr>
            <a:cxnSpLocks/>
          </p:cNvCxnSpPr>
          <p:nvPr/>
        </p:nvCxnSpPr>
        <p:spPr>
          <a:xfrm>
            <a:off x="1273486" y="3322420"/>
            <a:ext cx="0" cy="527768"/>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27" name="文本框 26">
            <a:extLst>
              <a:ext uri="{FF2B5EF4-FFF2-40B4-BE49-F238E27FC236}">
                <a16:creationId xmlns:a16="http://schemas.microsoft.com/office/drawing/2014/main" id="{E45A0BB6-4996-4E90-B121-4B9ABF7CDB00}"/>
              </a:ext>
            </a:extLst>
          </p:cNvPr>
          <p:cNvSpPr txBox="1"/>
          <p:nvPr/>
        </p:nvSpPr>
        <p:spPr>
          <a:xfrm>
            <a:off x="1018794" y="3846440"/>
            <a:ext cx="21032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首伦理联盟协议签署</a:t>
            </a:r>
          </a:p>
        </p:txBody>
      </p:sp>
      <p:sp>
        <p:nvSpPr>
          <p:cNvPr id="121" name="椭圆 120">
            <a:extLst>
              <a:ext uri="{FF2B5EF4-FFF2-40B4-BE49-F238E27FC236}">
                <a16:creationId xmlns:a16="http://schemas.microsoft.com/office/drawing/2014/main" id="{2E7020C3-18EA-4345-859A-9E498CEE7ED7}"/>
              </a:ext>
            </a:extLst>
          </p:cNvPr>
          <p:cNvSpPr/>
          <p:nvPr/>
        </p:nvSpPr>
        <p:spPr>
          <a:xfrm>
            <a:off x="3957160" y="3144804"/>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122" name="直接连接符 121">
            <a:extLst>
              <a:ext uri="{FF2B5EF4-FFF2-40B4-BE49-F238E27FC236}">
                <a16:creationId xmlns:a16="http://schemas.microsoft.com/office/drawing/2014/main" id="{9BC571AA-1BFA-4A83-BB34-C3A5ED7555F1}"/>
              </a:ext>
            </a:extLst>
          </p:cNvPr>
          <p:cNvCxnSpPr>
            <a:cxnSpLocks/>
          </p:cNvCxnSpPr>
          <p:nvPr/>
        </p:nvCxnSpPr>
        <p:spPr>
          <a:xfrm>
            <a:off x="4134776" y="3322421"/>
            <a:ext cx="0" cy="524019"/>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149" name="椭圆 148">
            <a:extLst>
              <a:ext uri="{FF2B5EF4-FFF2-40B4-BE49-F238E27FC236}">
                <a16:creationId xmlns:a16="http://schemas.microsoft.com/office/drawing/2014/main" id="{2B6CACD4-5017-4879-A055-247FD0F68677}"/>
              </a:ext>
            </a:extLst>
          </p:cNvPr>
          <p:cNvSpPr/>
          <p:nvPr/>
        </p:nvSpPr>
        <p:spPr>
          <a:xfrm>
            <a:off x="6529745" y="3178915"/>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150" name="直接连接符 149">
            <a:extLst>
              <a:ext uri="{FF2B5EF4-FFF2-40B4-BE49-F238E27FC236}">
                <a16:creationId xmlns:a16="http://schemas.microsoft.com/office/drawing/2014/main" id="{C45F81DF-C7BF-4383-9C40-A9F8098DDE0A}"/>
              </a:ext>
            </a:extLst>
          </p:cNvPr>
          <p:cNvCxnSpPr>
            <a:cxnSpLocks/>
          </p:cNvCxnSpPr>
          <p:nvPr/>
        </p:nvCxnSpPr>
        <p:spPr>
          <a:xfrm>
            <a:off x="6707545" y="3348536"/>
            <a:ext cx="0" cy="468096"/>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pic>
        <p:nvPicPr>
          <p:cNvPr id="62" name="Graphic 61">
            <a:extLst>
              <a:ext uri="{FF2B5EF4-FFF2-40B4-BE49-F238E27FC236}">
                <a16:creationId xmlns:a16="http://schemas.microsoft.com/office/drawing/2014/main" id="{B8CCAA4C-9285-4056-9E63-B79A025B2F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7519" y="3715738"/>
            <a:ext cx="565481" cy="565481"/>
          </a:xfrm>
          <a:prstGeom prst="rect">
            <a:avLst/>
          </a:prstGeom>
        </p:spPr>
      </p:pic>
      <p:sp>
        <p:nvSpPr>
          <p:cNvPr id="73" name="椭圆 120">
            <a:extLst>
              <a:ext uri="{FF2B5EF4-FFF2-40B4-BE49-F238E27FC236}">
                <a16:creationId xmlns:a16="http://schemas.microsoft.com/office/drawing/2014/main" id="{6EBBEFB0-CC72-41FC-8053-C01E7EC4CCDB}"/>
              </a:ext>
            </a:extLst>
          </p:cNvPr>
          <p:cNvSpPr/>
          <p:nvPr/>
        </p:nvSpPr>
        <p:spPr>
          <a:xfrm>
            <a:off x="2242267" y="3144804"/>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74" name="直接连接符 121">
            <a:extLst>
              <a:ext uri="{FF2B5EF4-FFF2-40B4-BE49-F238E27FC236}">
                <a16:creationId xmlns:a16="http://schemas.microsoft.com/office/drawing/2014/main" id="{547B9690-571B-46C7-B897-6AFEBEAF51E3}"/>
              </a:ext>
            </a:extLst>
          </p:cNvPr>
          <p:cNvCxnSpPr>
            <a:cxnSpLocks/>
          </p:cNvCxnSpPr>
          <p:nvPr/>
        </p:nvCxnSpPr>
        <p:spPr>
          <a:xfrm flipV="1">
            <a:off x="2419883" y="2716988"/>
            <a:ext cx="0" cy="597575"/>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75" name="文本框 26">
            <a:extLst>
              <a:ext uri="{FF2B5EF4-FFF2-40B4-BE49-F238E27FC236}">
                <a16:creationId xmlns:a16="http://schemas.microsoft.com/office/drawing/2014/main" id="{E2E73886-3D05-41B1-9268-B5D165CD2D14}"/>
              </a:ext>
            </a:extLst>
          </p:cNvPr>
          <p:cNvSpPr txBox="1"/>
          <p:nvPr/>
        </p:nvSpPr>
        <p:spPr>
          <a:xfrm>
            <a:off x="849317" y="1624760"/>
            <a:ext cx="18756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dirty="0">
                <a:solidFill>
                  <a:srgbClr val="8F1D24"/>
                </a:solidFill>
                <a:latin typeface="微软雅黑" panose="020B0503020204020204" pitchFamily="34" charset="-122"/>
                <a:ea typeface="微软雅黑" panose="020B0503020204020204" pitchFamily="34" charset="-122"/>
                <a:cs typeface="+mn-ea"/>
                <a:sym typeface="微软雅黑" panose="020B0503020204020204" pitchFamily="34" charset="-122"/>
              </a:rPr>
              <a:t>协作单位</a:t>
            </a:r>
            <a:r>
              <a:rPr kumimoji="0"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申报</a:t>
            </a:r>
          </a:p>
        </p:txBody>
      </p:sp>
      <p:sp>
        <p:nvSpPr>
          <p:cNvPr id="76" name="圆角矩形 3">
            <a:extLst>
              <a:ext uri="{FF2B5EF4-FFF2-40B4-BE49-F238E27FC236}">
                <a16:creationId xmlns:a16="http://schemas.microsoft.com/office/drawing/2014/main" id="{F50142F4-AE6B-43BA-8547-63FAA378BBB9}"/>
              </a:ext>
            </a:extLst>
          </p:cNvPr>
          <p:cNvSpPr/>
          <p:nvPr/>
        </p:nvSpPr>
        <p:spPr>
          <a:xfrm>
            <a:off x="1063376" y="1960121"/>
            <a:ext cx="3011512" cy="718984"/>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在官网进行</a:t>
            </a: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协作单位</a:t>
            </a: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申报</a:t>
            </a:r>
            <a:endParaRPr kumimoji="1" lang="en-US" altLang="zh-CN"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上传伦理联盟协议及承诺书</a:t>
            </a:r>
          </a:p>
        </p:txBody>
      </p:sp>
      <p:pic>
        <p:nvPicPr>
          <p:cNvPr id="77" name="Graphic 76">
            <a:extLst>
              <a:ext uri="{FF2B5EF4-FFF2-40B4-BE49-F238E27FC236}">
                <a16:creationId xmlns:a16="http://schemas.microsoft.com/office/drawing/2014/main" id="{C3167A7D-8FAC-45AD-B5C8-5ACE9C92C0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18079" y="3745195"/>
            <a:ext cx="556809" cy="585819"/>
          </a:xfrm>
          <a:prstGeom prst="rect">
            <a:avLst/>
          </a:prstGeom>
        </p:spPr>
      </p:pic>
      <p:sp>
        <p:nvSpPr>
          <p:cNvPr id="7" name="Rectangle 6">
            <a:extLst>
              <a:ext uri="{FF2B5EF4-FFF2-40B4-BE49-F238E27FC236}">
                <a16:creationId xmlns:a16="http://schemas.microsoft.com/office/drawing/2014/main" id="{074221F3-DA41-4569-8413-B4AF240FA1F8}"/>
              </a:ext>
            </a:extLst>
          </p:cNvPr>
          <p:cNvSpPr/>
          <p:nvPr/>
        </p:nvSpPr>
        <p:spPr>
          <a:xfrm>
            <a:off x="4038226" y="3853816"/>
            <a:ext cx="190490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协作单位</a:t>
            </a:r>
            <a:r>
              <a:rPr kumimoji="1"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建设启动</a:t>
            </a:r>
            <a:endParaRPr kumimoji="0"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78" name="Graphic 77">
            <a:extLst>
              <a:ext uri="{FF2B5EF4-FFF2-40B4-BE49-F238E27FC236}">
                <a16:creationId xmlns:a16="http://schemas.microsoft.com/office/drawing/2014/main" id="{20FF1174-56F4-4F16-8834-095092212C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6798" y="1602413"/>
            <a:ext cx="457200" cy="457200"/>
          </a:xfrm>
          <a:prstGeom prst="rect">
            <a:avLst/>
          </a:prstGeom>
        </p:spPr>
      </p:pic>
      <p:sp>
        <p:nvSpPr>
          <p:cNvPr id="10" name="Rectangle 9">
            <a:extLst>
              <a:ext uri="{FF2B5EF4-FFF2-40B4-BE49-F238E27FC236}">
                <a16:creationId xmlns:a16="http://schemas.microsoft.com/office/drawing/2014/main" id="{11E17CFD-CDD2-4060-8F04-D0F65450ECDF}"/>
              </a:ext>
            </a:extLst>
          </p:cNvPr>
          <p:cNvSpPr/>
          <p:nvPr/>
        </p:nvSpPr>
        <p:spPr>
          <a:xfrm>
            <a:off x="7000524" y="3788502"/>
            <a:ext cx="182614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协作单位</a:t>
            </a:r>
            <a:r>
              <a:rPr kumimoji="1"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认证申报</a:t>
            </a:r>
            <a:endParaRPr kumimoji="0"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80" name="Graphic 79">
            <a:extLst>
              <a:ext uri="{FF2B5EF4-FFF2-40B4-BE49-F238E27FC236}">
                <a16:creationId xmlns:a16="http://schemas.microsoft.com/office/drawing/2014/main" id="{5F99211C-D1E9-42DF-8A54-2AAC42E870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0733" y="3814485"/>
            <a:ext cx="522408" cy="522408"/>
          </a:xfrm>
          <a:prstGeom prst="rect">
            <a:avLst/>
          </a:prstGeom>
        </p:spPr>
      </p:pic>
      <p:sp>
        <p:nvSpPr>
          <p:cNvPr id="82" name="圆角矩形 3">
            <a:extLst>
              <a:ext uri="{FF2B5EF4-FFF2-40B4-BE49-F238E27FC236}">
                <a16:creationId xmlns:a16="http://schemas.microsoft.com/office/drawing/2014/main" id="{E7E6F7AB-E038-42FD-BBB0-B2677F36116B}"/>
              </a:ext>
            </a:extLst>
          </p:cNvPr>
          <p:cNvSpPr/>
          <p:nvPr/>
        </p:nvSpPr>
        <p:spPr>
          <a:xfrm>
            <a:off x="686798" y="4178609"/>
            <a:ext cx="2700792" cy="1197491"/>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与国家皮肤与免疫临床医学研究中心签订伦理联盟协议</a:t>
            </a:r>
            <a:r>
              <a:rPr kumimoji="1" lang="en-US" altLang="zh-CN" sz="1600" baseline="300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amp;</a:t>
            </a:r>
            <a:endParaRPr kumimoji="1" lang="en-US" altLang="zh-CN" sz="1600" b="0" i="0" u="none" strike="noStrike" kern="1200" cap="none" spc="0" normalizeH="0" baseline="3000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marR="0" lvl="0" indent="-285750" algn="l" defTabSz="914400" rtl="0" eaLnBrk="1" fontAlgn="auto" latinLnBrk="0" hangingPunct="1">
              <a:lnSpc>
                <a:spcPts val="18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医院提供承诺书*</a:t>
            </a:r>
          </a:p>
        </p:txBody>
      </p:sp>
      <p:sp>
        <p:nvSpPr>
          <p:cNvPr id="83" name="圆角矩形 3">
            <a:extLst>
              <a:ext uri="{FF2B5EF4-FFF2-40B4-BE49-F238E27FC236}">
                <a16:creationId xmlns:a16="http://schemas.microsoft.com/office/drawing/2014/main" id="{6A8B648D-190B-4178-98F6-7890B8985283}"/>
              </a:ext>
            </a:extLst>
          </p:cNvPr>
          <p:cNvSpPr/>
          <p:nvPr/>
        </p:nvSpPr>
        <p:spPr>
          <a:xfrm>
            <a:off x="4040433" y="4178608"/>
            <a:ext cx="2279047" cy="1197491"/>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lnSpc>
                <a:spcPts val="1800"/>
              </a:lnSpc>
              <a:buFont typeface="Arial" panose="020B0604020202020204" pitchFamily="34" charset="0"/>
              <a:buChar char="•"/>
              <a:defRPr/>
            </a:pP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数据库账号获取</a:t>
            </a:r>
            <a:endParaRPr kumimoji="1" lang="en-US" altLang="zh-CN"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lvl="0" indent="-285750">
              <a:lnSpc>
                <a:spcPts val="1800"/>
              </a:lnSpc>
              <a:buFont typeface="Arial" panose="020B0604020202020204" pitchFamily="34" charset="0"/>
              <a:buChar char="•"/>
              <a:defRPr/>
            </a:pP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数据库线上培训</a:t>
            </a:r>
            <a:endParaRPr kumimoji="1" lang="en-US" altLang="zh-CN"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lvl="0" indent="-285750">
              <a:lnSpc>
                <a:spcPts val="1800"/>
              </a:lnSpc>
              <a:buFont typeface="Arial" panose="020B0604020202020204" pitchFamily="34" charset="0"/>
              <a:buChar char="•"/>
              <a:defRPr/>
            </a:pP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医院启动会</a:t>
            </a:r>
            <a:endParaRPr kumimoji="1" lang="en-US" altLang="zh-CN"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lvl="0" indent="-285750">
              <a:lnSpc>
                <a:spcPts val="1800"/>
              </a:lnSpc>
              <a:buFont typeface="Arial" panose="020B0604020202020204" pitchFamily="34" charset="0"/>
              <a:buChar char="•"/>
              <a:defRPr/>
            </a:pP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数据库录入</a:t>
            </a:r>
          </a:p>
        </p:txBody>
      </p:sp>
      <p:sp>
        <p:nvSpPr>
          <p:cNvPr id="85" name="圆角矩形 3">
            <a:extLst>
              <a:ext uri="{FF2B5EF4-FFF2-40B4-BE49-F238E27FC236}">
                <a16:creationId xmlns:a16="http://schemas.microsoft.com/office/drawing/2014/main" id="{30B1E6D1-CD8B-4011-BCB5-F7CF796FD80C}"/>
              </a:ext>
            </a:extLst>
          </p:cNvPr>
          <p:cNvSpPr/>
          <p:nvPr/>
        </p:nvSpPr>
        <p:spPr>
          <a:xfrm>
            <a:off x="7083332" y="4127056"/>
            <a:ext cx="2616114" cy="718984"/>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登陆官网，填写认证申请</a:t>
            </a:r>
            <a:endParaRPr kumimoji="1" lang="en-US" altLang="zh-CN"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Rectangle 14">
            <a:extLst>
              <a:ext uri="{FF2B5EF4-FFF2-40B4-BE49-F238E27FC236}">
                <a16:creationId xmlns:a16="http://schemas.microsoft.com/office/drawing/2014/main" id="{646F796B-7BBB-4B21-979F-9BECE5DBFF06}"/>
              </a:ext>
            </a:extLst>
          </p:cNvPr>
          <p:cNvSpPr/>
          <p:nvPr/>
        </p:nvSpPr>
        <p:spPr>
          <a:xfrm>
            <a:off x="8437483" y="1602413"/>
            <a:ext cx="3113813" cy="1200329"/>
          </a:xfrm>
          <a:prstGeom prst="rect">
            <a:avLst/>
          </a:prstGeom>
          <a:ln>
            <a:solidFill>
              <a:srgbClr val="9B000B"/>
            </a:solidFill>
          </a:ln>
        </p:spPr>
        <p:txBody>
          <a:bodyPr wrap="square">
            <a:spAutoFit/>
          </a:bodyPr>
          <a:lstStyle/>
          <a:p>
            <a:pPr lvl="0">
              <a:defRPr/>
            </a:pPr>
            <a:r>
              <a:rPr kumimoji="1" lang="zh-CN" altLang="en-US"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认证为中国</a:t>
            </a:r>
            <a:r>
              <a:rPr kumimoji="1" lang="en-US" altLang="zh-CN"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2</a:t>
            </a:r>
            <a:r>
              <a:rPr kumimoji="1" lang="zh-CN" altLang="en-US"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型炎症皮肤病临床研究均质化诊疗项目协作单位（</a:t>
            </a:r>
            <a:r>
              <a:rPr kumimoji="1"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有效期三年）</a:t>
            </a:r>
            <a:endParaRPr kumimoji="1" lang="en-US" altLang="zh-CN"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lvl="0" indent="-285750">
              <a:buFont typeface="Arial" panose="020B0604020202020204" pitchFamily="34" charset="0"/>
              <a:buChar char="•"/>
              <a:defRPr/>
            </a:pPr>
            <a:r>
              <a:rPr kumimoji="1" lang="zh-CN" altLang="en-US"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一期 </a:t>
            </a:r>
            <a:r>
              <a:rPr kumimoji="1" lang="en-US" altLang="zh-CN"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022</a:t>
            </a:r>
            <a:r>
              <a:rPr kumimoji="1" lang="zh-CN" altLang="en-US"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年</a:t>
            </a:r>
            <a:r>
              <a:rPr kumimoji="1" lang="en-US" altLang="zh-CN"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4</a:t>
            </a:r>
            <a:r>
              <a:rPr kumimoji="1" lang="zh-CN" altLang="en-US"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月</a:t>
            </a:r>
            <a:endParaRPr kumimoji="1" lang="en-US" altLang="zh-CN" sz="12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285750" lvl="0" indent="-285750">
              <a:buFont typeface="Arial" panose="020B0604020202020204" pitchFamily="34" charset="0"/>
              <a:buChar char="•"/>
              <a:defRPr/>
            </a:pPr>
            <a:r>
              <a:rPr kumimoji="1" lang="zh-CN" altLang="en-US" sz="1200" b="1" u="sng"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第二期 </a:t>
            </a:r>
            <a:r>
              <a:rPr kumimoji="1" lang="en-US" altLang="zh-CN" sz="1200" b="1" u="sng"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2023</a:t>
            </a:r>
            <a:r>
              <a:rPr kumimoji="1" lang="zh-CN" altLang="en-US" sz="1200" b="1" u="sng"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年</a:t>
            </a:r>
            <a:r>
              <a:rPr kumimoji="1" lang="en-US" altLang="zh-CN" sz="1200" b="1" u="sng"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4</a:t>
            </a:r>
            <a:r>
              <a:rPr kumimoji="1" lang="zh-CN" altLang="en-US" sz="1200" b="1" u="sng"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月</a:t>
            </a:r>
            <a:endParaRPr kumimoji="1" lang="zh-CN" altLang="en-US" sz="1200" b="1" i="0" u="sng"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90" name="组合 45">
            <a:extLst>
              <a:ext uri="{FF2B5EF4-FFF2-40B4-BE49-F238E27FC236}">
                <a16:creationId xmlns:a16="http://schemas.microsoft.com/office/drawing/2014/main" id="{27FF1CA7-0EF7-4350-9BED-535AABCD23D0}"/>
              </a:ext>
            </a:extLst>
          </p:cNvPr>
          <p:cNvGrpSpPr/>
          <p:nvPr/>
        </p:nvGrpSpPr>
        <p:grpSpPr>
          <a:xfrm>
            <a:off x="7909693" y="1790582"/>
            <a:ext cx="491100" cy="540417"/>
            <a:chOff x="6740652" y="2407486"/>
            <a:chExt cx="503526" cy="505070"/>
          </a:xfrm>
        </p:grpSpPr>
        <p:pic>
          <p:nvPicPr>
            <p:cNvPr id="91" name="Graphic 238">
              <a:extLst>
                <a:ext uri="{FF2B5EF4-FFF2-40B4-BE49-F238E27FC236}">
                  <a16:creationId xmlns:a16="http://schemas.microsoft.com/office/drawing/2014/main" id="{C7DF1550-B8DC-4AC7-9A2A-98E0DC1409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72517" y="2440895"/>
              <a:ext cx="471661" cy="471661"/>
            </a:xfrm>
            <a:prstGeom prst="rect">
              <a:avLst/>
            </a:prstGeom>
          </p:spPr>
        </p:pic>
        <p:grpSp>
          <p:nvGrpSpPr>
            <p:cNvPr id="92" name="组合 124">
              <a:extLst>
                <a:ext uri="{FF2B5EF4-FFF2-40B4-BE49-F238E27FC236}">
                  <a16:creationId xmlns:a16="http://schemas.microsoft.com/office/drawing/2014/main" id="{2C64DCCF-79D4-4339-8489-B7A2A2D7489D}"/>
                </a:ext>
              </a:extLst>
            </p:cNvPr>
            <p:cNvGrpSpPr/>
            <p:nvPr/>
          </p:nvGrpSpPr>
          <p:grpSpPr>
            <a:xfrm>
              <a:off x="6740652" y="2407486"/>
              <a:ext cx="170614" cy="230116"/>
              <a:chOff x="5229877" y="2189868"/>
              <a:chExt cx="170614" cy="230116"/>
            </a:xfrm>
          </p:grpSpPr>
          <p:sp>
            <p:nvSpPr>
              <p:cNvPr id="93" name="椭圆 125">
                <a:extLst>
                  <a:ext uri="{FF2B5EF4-FFF2-40B4-BE49-F238E27FC236}">
                    <a16:creationId xmlns:a16="http://schemas.microsoft.com/office/drawing/2014/main" id="{85FC53BB-CA77-44B0-A50B-E394D011131D}"/>
                  </a:ext>
                </a:extLst>
              </p:cNvPr>
              <p:cNvSpPr/>
              <p:nvPr/>
            </p:nvSpPr>
            <p:spPr>
              <a:xfrm>
                <a:off x="5229877" y="2230119"/>
                <a:ext cx="168351" cy="168351"/>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94" name="文本框 126">
                <a:extLst>
                  <a:ext uri="{FF2B5EF4-FFF2-40B4-BE49-F238E27FC236}">
                    <a16:creationId xmlns:a16="http://schemas.microsoft.com/office/drawing/2014/main" id="{690FC4E6-0C18-47AF-9533-363EE0C06CCF}"/>
                  </a:ext>
                </a:extLst>
              </p:cNvPr>
              <p:cNvSpPr txBox="1"/>
              <p:nvPr/>
            </p:nvSpPr>
            <p:spPr>
              <a:xfrm>
                <a:off x="5237931" y="2189868"/>
                <a:ext cx="162560" cy="2301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1</a:t>
                </a:r>
                <a:endParaRPr kumimoji="0" lang="zh-CN" altLang="en-US" sz="1000" b="1" i="0" u="none" strike="noStrike" kern="1200" cap="none" spc="0" normalizeH="0" baseline="0" noProof="0" dirty="0" err="1">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cxnSp>
        <p:nvCxnSpPr>
          <p:cNvPr id="95" name="直接箭头连接符 33">
            <a:extLst>
              <a:ext uri="{FF2B5EF4-FFF2-40B4-BE49-F238E27FC236}">
                <a16:creationId xmlns:a16="http://schemas.microsoft.com/office/drawing/2014/main" id="{7883F48E-BFEE-48D1-9AB4-30796DB5B6F3}"/>
              </a:ext>
            </a:extLst>
          </p:cNvPr>
          <p:cNvCxnSpPr>
            <a:cxnSpLocks/>
          </p:cNvCxnSpPr>
          <p:nvPr/>
        </p:nvCxnSpPr>
        <p:spPr>
          <a:xfrm flipV="1">
            <a:off x="9457721" y="3327805"/>
            <a:ext cx="1404634" cy="0"/>
          </a:xfrm>
          <a:prstGeom prst="straightConnector1">
            <a:avLst/>
          </a:prstGeom>
          <a:ln w="127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文本框 37">
            <a:extLst>
              <a:ext uri="{FF2B5EF4-FFF2-40B4-BE49-F238E27FC236}">
                <a16:creationId xmlns:a16="http://schemas.microsoft.com/office/drawing/2014/main" id="{E20FBDC0-4BD4-4379-AA00-E1827C747BD1}"/>
              </a:ext>
            </a:extLst>
          </p:cNvPr>
          <p:cNvSpPr txBox="1"/>
          <p:nvPr/>
        </p:nvSpPr>
        <p:spPr>
          <a:xfrm>
            <a:off x="9868612" y="3187282"/>
            <a:ext cx="619405" cy="253916"/>
          </a:xfrm>
          <a:prstGeom prst="rect">
            <a:avLst/>
          </a:prstGeom>
          <a:solidFill>
            <a:srgbClr val="C4BD9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每 </a:t>
            </a:r>
            <a:r>
              <a:rPr kumimoji="0" lang="en-US" altLang="zh-CN" sz="105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6M</a:t>
            </a:r>
            <a:endParaRPr kumimoji="0" lang="zh-CN" altLang="en-US" sz="105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97" name="椭圆 148">
            <a:extLst>
              <a:ext uri="{FF2B5EF4-FFF2-40B4-BE49-F238E27FC236}">
                <a16:creationId xmlns:a16="http://schemas.microsoft.com/office/drawing/2014/main" id="{B32098E5-F077-4B51-8506-6D3590F2499E}"/>
              </a:ext>
            </a:extLst>
          </p:cNvPr>
          <p:cNvSpPr/>
          <p:nvPr/>
        </p:nvSpPr>
        <p:spPr>
          <a:xfrm>
            <a:off x="9000913" y="3138014"/>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98" name="直接连接符 149">
            <a:extLst>
              <a:ext uri="{FF2B5EF4-FFF2-40B4-BE49-F238E27FC236}">
                <a16:creationId xmlns:a16="http://schemas.microsoft.com/office/drawing/2014/main" id="{45CBD405-C1A2-4C00-ACE1-CB395B14E231}"/>
              </a:ext>
            </a:extLst>
          </p:cNvPr>
          <p:cNvCxnSpPr>
            <a:cxnSpLocks/>
          </p:cNvCxnSpPr>
          <p:nvPr/>
        </p:nvCxnSpPr>
        <p:spPr>
          <a:xfrm flipH="1" flipV="1">
            <a:off x="9170786" y="2881674"/>
            <a:ext cx="14521" cy="425244"/>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2BB12FF-53E5-4BB4-9491-C3451530D1E1}"/>
              </a:ext>
            </a:extLst>
          </p:cNvPr>
          <p:cNvSpPr/>
          <p:nvPr/>
        </p:nvSpPr>
        <p:spPr>
          <a:xfrm>
            <a:off x="10135757" y="3743171"/>
            <a:ext cx="18261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维持认证质控考核</a:t>
            </a:r>
          </a:p>
        </p:txBody>
      </p:sp>
      <p:sp>
        <p:nvSpPr>
          <p:cNvPr id="102" name="圆角矩形 3">
            <a:extLst>
              <a:ext uri="{FF2B5EF4-FFF2-40B4-BE49-F238E27FC236}">
                <a16:creationId xmlns:a16="http://schemas.microsoft.com/office/drawing/2014/main" id="{B6FCCDE3-FC4D-4F93-BE17-001DAEBA46F2}"/>
              </a:ext>
            </a:extLst>
          </p:cNvPr>
          <p:cNvSpPr/>
          <p:nvPr/>
        </p:nvSpPr>
        <p:spPr>
          <a:xfrm>
            <a:off x="10202636" y="4146303"/>
            <a:ext cx="1715699" cy="718984"/>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合格：维持认证</a:t>
            </a:r>
            <a:endParaRPr kumimoji="1" lang="en-US" altLang="zh-CN"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不合格：整改</a:t>
            </a:r>
            <a:endParaRPr kumimoji="0" lang="zh-CN" altLang="en-US" sz="1600" b="0" i="0" u="none" strike="noStrike" kern="1200" cap="none" spc="0" normalizeH="0" baseline="0" noProof="0" dirty="0">
              <a:ln>
                <a:noFill/>
              </a:ln>
              <a:solidFill>
                <a:srgbClr val="EEECE1">
                  <a:lumMod val="10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03" name="组合 45">
            <a:extLst>
              <a:ext uri="{FF2B5EF4-FFF2-40B4-BE49-F238E27FC236}">
                <a16:creationId xmlns:a16="http://schemas.microsoft.com/office/drawing/2014/main" id="{F14FDF18-5DA1-48E7-935B-EDEEA7113D83}"/>
              </a:ext>
            </a:extLst>
          </p:cNvPr>
          <p:cNvGrpSpPr/>
          <p:nvPr/>
        </p:nvGrpSpPr>
        <p:grpSpPr>
          <a:xfrm>
            <a:off x="9733301" y="3740556"/>
            <a:ext cx="491100" cy="540417"/>
            <a:chOff x="6740652" y="2407486"/>
            <a:chExt cx="503526" cy="505070"/>
          </a:xfrm>
        </p:grpSpPr>
        <p:pic>
          <p:nvPicPr>
            <p:cNvPr id="104" name="Graphic 238">
              <a:extLst>
                <a:ext uri="{FF2B5EF4-FFF2-40B4-BE49-F238E27FC236}">
                  <a16:creationId xmlns:a16="http://schemas.microsoft.com/office/drawing/2014/main" id="{E66C5896-A786-4878-BA5E-8C0BC0089F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72517" y="2440895"/>
              <a:ext cx="471661" cy="471661"/>
            </a:xfrm>
            <a:prstGeom prst="rect">
              <a:avLst/>
            </a:prstGeom>
          </p:spPr>
        </p:pic>
        <p:grpSp>
          <p:nvGrpSpPr>
            <p:cNvPr id="105" name="组合 124">
              <a:extLst>
                <a:ext uri="{FF2B5EF4-FFF2-40B4-BE49-F238E27FC236}">
                  <a16:creationId xmlns:a16="http://schemas.microsoft.com/office/drawing/2014/main" id="{35F2E2B5-7278-4CCE-94E6-C9AFA7680D50}"/>
                </a:ext>
              </a:extLst>
            </p:cNvPr>
            <p:cNvGrpSpPr/>
            <p:nvPr/>
          </p:nvGrpSpPr>
          <p:grpSpPr>
            <a:xfrm>
              <a:off x="6740652" y="2407486"/>
              <a:ext cx="170614" cy="230116"/>
              <a:chOff x="5229877" y="2189868"/>
              <a:chExt cx="170614" cy="230116"/>
            </a:xfrm>
          </p:grpSpPr>
          <p:sp>
            <p:nvSpPr>
              <p:cNvPr id="106" name="椭圆 125">
                <a:extLst>
                  <a:ext uri="{FF2B5EF4-FFF2-40B4-BE49-F238E27FC236}">
                    <a16:creationId xmlns:a16="http://schemas.microsoft.com/office/drawing/2014/main" id="{F55D46B8-2490-43D3-BC2B-36DC61B28D70}"/>
                  </a:ext>
                </a:extLst>
              </p:cNvPr>
              <p:cNvSpPr/>
              <p:nvPr/>
            </p:nvSpPr>
            <p:spPr>
              <a:xfrm>
                <a:off x="5229877" y="2230119"/>
                <a:ext cx="168351" cy="168351"/>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07" name="文本框 126">
                <a:extLst>
                  <a:ext uri="{FF2B5EF4-FFF2-40B4-BE49-F238E27FC236}">
                    <a16:creationId xmlns:a16="http://schemas.microsoft.com/office/drawing/2014/main" id="{92617421-BCB0-4006-A28B-12F4417A9E4A}"/>
                  </a:ext>
                </a:extLst>
              </p:cNvPr>
              <p:cNvSpPr txBox="1"/>
              <p:nvPr/>
            </p:nvSpPr>
            <p:spPr>
              <a:xfrm>
                <a:off x="5237931" y="2189868"/>
                <a:ext cx="162560" cy="2301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2</a:t>
                </a:r>
                <a:endParaRPr kumimoji="0" lang="zh-CN" altLang="en-US" sz="1000" b="1" i="0" u="none" strike="noStrike" kern="1200" cap="none" spc="0" normalizeH="0" baseline="0" noProof="0" dirty="0" err="1">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sp>
        <p:nvSpPr>
          <p:cNvPr id="112" name="文本框 37">
            <a:extLst>
              <a:ext uri="{FF2B5EF4-FFF2-40B4-BE49-F238E27FC236}">
                <a16:creationId xmlns:a16="http://schemas.microsoft.com/office/drawing/2014/main" id="{ADA9FB44-5796-4C8A-BE3C-F60F1BFE4D80}"/>
              </a:ext>
            </a:extLst>
          </p:cNvPr>
          <p:cNvSpPr txBox="1"/>
          <p:nvPr/>
        </p:nvSpPr>
        <p:spPr>
          <a:xfrm>
            <a:off x="2764863" y="2787821"/>
            <a:ext cx="1025952" cy="253916"/>
          </a:xfrm>
          <a:prstGeom prst="rect">
            <a:avLst/>
          </a:prstGeom>
          <a:solidFill>
            <a:schemeClr val="bg2">
              <a:lumMod val="90000"/>
            </a:schemeClr>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rPr>
              <a:t>符合审核条件</a:t>
            </a:r>
          </a:p>
        </p:txBody>
      </p:sp>
      <p:cxnSp>
        <p:nvCxnSpPr>
          <p:cNvPr id="115" name="直接连接符 121">
            <a:extLst>
              <a:ext uri="{FF2B5EF4-FFF2-40B4-BE49-F238E27FC236}">
                <a16:creationId xmlns:a16="http://schemas.microsoft.com/office/drawing/2014/main" id="{4AE965FB-5ABE-4285-9132-B6A7B1767BB7}"/>
              </a:ext>
            </a:extLst>
          </p:cNvPr>
          <p:cNvCxnSpPr>
            <a:cxnSpLocks/>
            <a:endCxn id="112" idx="2"/>
          </p:cNvCxnSpPr>
          <p:nvPr/>
        </p:nvCxnSpPr>
        <p:spPr>
          <a:xfrm flipH="1" flipV="1">
            <a:off x="3277839" y="3041737"/>
            <a:ext cx="0" cy="182880"/>
          </a:xfrm>
          <a:prstGeom prst="line">
            <a:avLst/>
          </a:prstGeom>
          <a:ln w="19050">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F9419C44-B4EB-4F6C-99AA-2F3A40873760}"/>
              </a:ext>
            </a:extLst>
          </p:cNvPr>
          <p:cNvSpPr txBox="1">
            <a:spLocks/>
          </p:cNvSpPr>
          <p:nvPr/>
        </p:nvSpPr>
        <p:spPr>
          <a:xfrm>
            <a:off x="398980" y="762000"/>
            <a:ext cx="7144384" cy="369332"/>
          </a:xfrm>
          <a:prstGeom prst="rect">
            <a:avLst/>
          </a:prstGeom>
        </p:spPr>
        <p:txBody>
          <a:bodyPr vert="horz"/>
          <a:lstStyle>
            <a:lvl1pPr>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400" b="1" kern="0" dirty="0">
                <a:solidFill>
                  <a:srgbClr val="A31620"/>
                </a:solidFill>
                <a:latin typeface="微软雅黑" panose="020B0503020204020204" pitchFamily="34" charset="-122"/>
                <a:ea typeface="微软雅黑" panose="020B0503020204020204" pitchFamily="34" charset="-122"/>
                <a:sym typeface="微软雅黑" panose="020B0503020204020204" pitchFamily="34" charset="-122"/>
              </a:rPr>
              <a:t>协作单位</a:t>
            </a:r>
            <a:r>
              <a:rPr kumimoji="0" lang="zh-CN" altLang="en-US" sz="2400" b="1" i="0" u="none" strike="noStrike" kern="0" cap="none" spc="0" normalizeH="0" baseline="0" noProof="0" dirty="0">
                <a:ln>
                  <a:noFill/>
                </a:ln>
                <a:solidFill>
                  <a:srgbClr val="A3162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申请流程</a:t>
            </a:r>
          </a:p>
        </p:txBody>
      </p:sp>
      <p:sp>
        <p:nvSpPr>
          <p:cNvPr id="2" name="TextBox 1">
            <a:extLst>
              <a:ext uri="{FF2B5EF4-FFF2-40B4-BE49-F238E27FC236}">
                <a16:creationId xmlns:a16="http://schemas.microsoft.com/office/drawing/2014/main" id="{C6316527-ADA5-45C7-915C-826BE13AB8A5}"/>
              </a:ext>
            </a:extLst>
          </p:cNvPr>
          <p:cNvSpPr txBox="1"/>
          <p:nvPr/>
        </p:nvSpPr>
        <p:spPr>
          <a:xfrm>
            <a:off x="436769" y="6096000"/>
            <a:ext cx="2700792" cy="553998"/>
          </a:xfrm>
          <a:prstGeom prst="rect">
            <a:avLst/>
          </a:prstGeom>
          <a:noFill/>
          <a:ln>
            <a:solidFill>
              <a:srgbClr val="953735"/>
            </a:solidFill>
            <a:prstDash val="sysDash"/>
          </a:ln>
        </p:spPr>
        <p:txBody>
          <a:bodyPr wrap="square" rtlCol="0">
            <a:spAutoFit/>
          </a:bodyPr>
          <a:lstStyle/>
          <a:p>
            <a:pPr>
              <a:defRPr/>
            </a:pPr>
            <a:r>
              <a:rPr lang="en-US" altLang="zh-CN" sz="12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mp;</a:t>
            </a:r>
            <a:r>
              <a:rPr lang="zh-CN" altLang="en-US" sz="12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需加盖医院公章及伦理委员会章</a:t>
            </a:r>
            <a:endParaRPr lang="en-US" altLang="zh-CN" sz="12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需加盖医院公章</a:t>
            </a:r>
            <a:endParaRPr kumimoji="0" lang="zh-CN" altLang="en-US" sz="1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8" name="文本框 37">
            <a:extLst>
              <a:ext uri="{FF2B5EF4-FFF2-40B4-BE49-F238E27FC236}">
                <a16:creationId xmlns:a16="http://schemas.microsoft.com/office/drawing/2014/main" id="{882CBD50-9181-4962-9EED-C64E1C6629E7}"/>
              </a:ext>
            </a:extLst>
          </p:cNvPr>
          <p:cNvSpPr txBox="1"/>
          <p:nvPr/>
        </p:nvSpPr>
        <p:spPr>
          <a:xfrm>
            <a:off x="7474343" y="2790498"/>
            <a:ext cx="1151461" cy="253916"/>
          </a:xfrm>
          <a:prstGeom prst="rect">
            <a:avLst/>
          </a:prstGeom>
          <a:solidFill>
            <a:schemeClr val="bg2">
              <a:lumMod val="90000"/>
            </a:schemeClr>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50" b="1" dirty="0">
                <a:solidFill>
                  <a:srgbClr val="C0504D"/>
                </a:solidFill>
                <a:latin typeface="微软雅黑" panose="020B0503020204020204" pitchFamily="34" charset="-122"/>
                <a:ea typeface="微软雅黑" panose="020B0503020204020204" pitchFamily="34" charset="-122"/>
                <a:cs typeface="+mn-ea"/>
                <a:sym typeface="微软雅黑" panose="020B0503020204020204" pitchFamily="34" charset="-122"/>
              </a:rPr>
              <a:t>符合认证条件</a:t>
            </a:r>
            <a:endParaRPr kumimoji="0" lang="zh-CN" altLang="en-US" sz="1050" b="1" i="0" u="none" strike="noStrike" kern="1200" cap="none" spc="0" normalizeH="0" baseline="0" noProof="0" dirty="0">
              <a:ln>
                <a:noFill/>
              </a:ln>
              <a:solidFill>
                <a:srgbClr val="C0504D"/>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70" name="直接连接符 121">
            <a:extLst>
              <a:ext uri="{FF2B5EF4-FFF2-40B4-BE49-F238E27FC236}">
                <a16:creationId xmlns:a16="http://schemas.microsoft.com/office/drawing/2014/main" id="{8794385D-4795-4951-AA6F-1AF4F2CE165C}"/>
              </a:ext>
            </a:extLst>
          </p:cNvPr>
          <p:cNvCxnSpPr>
            <a:cxnSpLocks/>
          </p:cNvCxnSpPr>
          <p:nvPr/>
        </p:nvCxnSpPr>
        <p:spPr>
          <a:xfrm flipH="1" flipV="1">
            <a:off x="7939749" y="3102052"/>
            <a:ext cx="0" cy="182880"/>
          </a:xfrm>
          <a:prstGeom prst="line">
            <a:avLst/>
          </a:prstGeom>
          <a:ln w="19050">
            <a:solidFill>
              <a:schemeClr val="accent2"/>
            </a:solidFill>
            <a:headEnd type="oval"/>
          </a:ln>
        </p:spPr>
        <p:style>
          <a:lnRef idx="1">
            <a:schemeClr val="accent1"/>
          </a:lnRef>
          <a:fillRef idx="0">
            <a:schemeClr val="accent1"/>
          </a:fillRef>
          <a:effectRef idx="0">
            <a:schemeClr val="accent1"/>
          </a:effectRef>
          <a:fontRef idx="minor">
            <a:schemeClr val="tx1"/>
          </a:fontRef>
        </p:style>
      </p:cxnSp>
      <p:pic>
        <p:nvPicPr>
          <p:cNvPr id="64" name="图片 63" descr="文本&#10;&#10;描述已自动生成">
            <a:extLst>
              <a:ext uri="{FF2B5EF4-FFF2-40B4-BE49-F238E27FC236}">
                <a16:creationId xmlns:a16="http://schemas.microsoft.com/office/drawing/2014/main" id="{80D30FF6-9025-4CEC-A4F6-AA47CFBEA60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489480" y="2170710"/>
            <a:ext cx="819535" cy="546278"/>
          </a:xfrm>
          <a:prstGeom prst="rect">
            <a:avLst/>
          </a:prstGeom>
          <a:ln>
            <a:noFill/>
          </a:ln>
          <a:effectLst>
            <a:outerShdw blurRad="292100" dist="139700" dir="2700000" algn="tl" rotWithShape="0">
              <a:srgbClr val="333333">
                <a:alpha val="65000"/>
              </a:srgbClr>
            </a:outerShdw>
          </a:effectLst>
        </p:spPr>
      </p:pic>
      <p:sp>
        <p:nvSpPr>
          <p:cNvPr id="99" name="椭圆 98">
            <a:extLst>
              <a:ext uri="{FF2B5EF4-FFF2-40B4-BE49-F238E27FC236}">
                <a16:creationId xmlns:a16="http://schemas.microsoft.com/office/drawing/2014/main" id="{DCD10703-C4A2-4DBB-891E-BFC5AE315690}"/>
              </a:ext>
            </a:extLst>
          </p:cNvPr>
          <p:cNvSpPr/>
          <p:nvPr/>
        </p:nvSpPr>
        <p:spPr>
          <a:xfrm>
            <a:off x="5169749" y="3130946"/>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100" name="直接连接符 99">
            <a:extLst>
              <a:ext uri="{FF2B5EF4-FFF2-40B4-BE49-F238E27FC236}">
                <a16:creationId xmlns:a16="http://schemas.microsoft.com/office/drawing/2014/main" id="{8E096BF3-5675-4DF5-A300-E04ED381290C}"/>
              </a:ext>
            </a:extLst>
          </p:cNvPr>
          <p:cNvCxnSpPr>
            <a:cxnSpLocks/>
          </p:cNvCxnSpPr>
          <p:nvPr/>
        </p:nvCxnSpPr>
        <p:spPr>
          <a:xfrm flipH="1" flipV="1">
            <a:off x="5344087" y="2772667"/>
            <a:ext cx="2261" cy="535895"/>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pic>
        <p:nvPicPr>
          <p:cNvPr id="101" name="Graphic 76">
            <a:extLst>
              <a:ext uri="{FF2B5EF4-FFF2-40B4-BE49-F238E27FC236}">
                <a16:creationId xmlns:a16="http://schemas.microsoft.com/office/drawing/2014/main" id="{2DE811DC-DC7E-4B7E-BC9B-322D36A7CE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28317" y="1535594"/>
            <a:ext cx="556809" cy="585819"/>
          </a:xfrm>
          <a:prstGeom prst="rect">
            <a:avLst/>
          </a:prstGeom>
        </p:spPr>
      </p:pic>
      <p:sp>
        <p:nvSpPr>
          <p:cNvPr id="108" name="Rectangle 6">
            <a:extLst>
              <a:ext uri="{FF2B5EF4-FFF2-40B4-BE49-F238E27FC236}">
                <a16:creationId xmlns:a16="http://schemas.microsoft.com/office/drawing/2014/main" id="{202807D1-6F4D-4DE3-B902-638B472D4372}"/>
              </a:ext>
            </a:extLst>
          </p:cNvPr>
          <p:cNvSpPr/>
          <p:nvPr/>
        </p:nvSpPr>
        <p:spPr>
          <a:xfrm>
            <a:off x="4948464" y="1644215"/>
            <a:ext cx="228125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600" b="1" dirty="0">
                <a:solidFill>
                  <a:srgbClr val="8F1D24"/>
                </a:solidFill>
                <a:latin typeface="微软雅黑" panose="020B0503020204020204" pitchFamily="34" charset="-122"/>
                <a:ea typeface="微软雅黑" panose="020B0503020204020204" pitchFamily="34" charset="-122"/>
                <a:sym typeface="微软雅黑" panose="020B0503020204020204" pitchFamily="34" charset="-122"/>
              </a:rPr>
              <a:t>协作单位区域发展论坛</a:t>
            </a:r>
            <a:endParaRPr kumimoji="0" lang="zh-CN" altLang="en-US" sz="1600" b="1" i="0" u="none" strike="noStrike" kern="1200" cap="none" spc="0" normalizeH="0" baseline="0" noProof="0" dirty="0">
              <a:ln>
                <a:noFill/>
              </a:ln>
              <a:solidFill>
                <a:srgbClr val="8F1D24"/>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9" name="圆角矩形 3">
            <a:extLst>
              <a:ext uri="{FF2B5EF4-FFF2-40B4-BE49-F238E27FC236}">
                <a16:creationId xmlns:a16="http://schemas.microsoft.com/office/drawing/2014/main" id="{A40F4157-65B3-478A-9A05-A9DA1236EE08}"/>
              </a:ext>
            </a:extLst>
          </p:cNvPr>
          <p:cNvSpPr/>
          <p:nvPr/>
        </p:nvSpPr>
        <p:spPr>
          <a:xfrm>
            <a:off x="4950671" y="1969007"/>
            <a:ext cx="2279047" cy="691409"/>
          </a:xfrm>
          <a:prstGeom prst="roundRect">
            <a:avLst/>
          </a:prstGeom>
          <a:noFill/>
          <a:ln w="19050">
            <a:solidFill>
              <a:srgbClr val="8F1D2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ts val="1800"/>
              </a:lnSpc>
              <a:defRPr/>
            </a:pP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录入数量质量</a:t>
            </a:r>
            <a:r>
              <a:rPr kumimoji="1" lang="en-US" altLang="zh-CN"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TOP100</a:t>
            </a:r>
            <a:r>
              <a:rPr kumimoji="1" lang="zh-CN" altLang="en-US" sz="1600" dirty="0">
                <a:solidFill>
                  <a:srgbClr val="EEECE1">
                    <a:lumMod val="10000"/>
                  </a:srgbClr>
                </a:solidFill>
                <a:latin typeface="微软雅黑" panose="020B0503020204020204" pitchFamily="34" charset="-122"/>
                <a:ea typeface="微软雅黑" panose="020B0503020204020204" pitchFamily="34" charset="-122"/>
                <a:sym typeface="微软雅黑" panose="020B0503020204020204" pitchFamily="34" charset="-122"/>
              </a:rPr>
              <a:t>协作单位获邀参加</a:t>
            </a:r>
          </a:p>
        </p:txBody>
      </p:sp>
      <p:sp>
        <p:nvSpPr>
          <p:cNvPr id="113" name="椭圆 112">
            <a:extLst>
              <a:ext uri="{FF2B5EF4-FFF2-40B4-BE49-F238E27FC236}">
                <a16:creationId xmlns:a16="http://schemas.microsoft.com/office/drawing/2014/main" id="{0C1BFCD7-15D0-470F-B354-B9E68F19643C}"/>
              </a:ext>
            </a:extLst>
          </p:cNvPr>
          <p:cNvSpPr/>
          <p:nvPr/>
        </p:nvSpPr>
        <p:spPr>
          <a:xfrm>
            <a:off x="10920774" y="3166984"/>
            <a:ext cx="355232" cy="3552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cxnSp>
        <p:nvCxnSpPr>
          <p:cNvPr id="116" name="直接连接符 115">
            <a:extLst>
              <a:ext uri="{FF2B5EF4-FFF2-40B4-BE49-F238E27FC236}">
                <a16:creationId xmlns:a16="http://schemas.microsoft.com/office/drawing/2014/main" id="{9AD6D9E4-B1B1-4F1C-AFB8-2707C2195473}"/>
              </a:ext>
            </a:extLst>
          </p:cNvPr>
          <p:cNvCxnSpPr>
            <a:cxnSpLocks/>
          </p:cNvCxnSpPr>
          <p:nvPr/>
        </p:nvCxnSpPr>
        <p:spPr>
          <a:xfrm>
            <a:off x="11098574" y="3336605"/>
            <a:ext cx="0" cy="468096"/>
          </a:xfrm>
          <a:prstGeom prst="line">
            <a:avLst/>
          </a:prstGeom>
          <a:ln w="38100">
            <a:solidFill>
              <a:schemeClr val="accent2"/>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1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drzl4k6fsKibHpsyLFM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KSO_WM_UNIT_TABLE_BEAUTIFY" val="smartTable{0c54a648-1aa3-424e-a65a-242b0b49866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KSO_WM_UNIT_TABLE_BEAUTIFY" val="smartTable{045b1382-a0c6-4f11-84ac-33e43d8a153b}"/>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UNIT_TABLE_BEAUTIFY" val="smartTable{c942b4a9-f080-4204-bb5a-0e53a4b843f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199</TotalTime>
  <Words>3192</Words>
  <Application>Microsoft Office PowerPoint</Application>
  <PresentationFormat>宽屏</PresentationFormat>
  <Paragraphs>321</Paragraphs>
  <Slides>19</Slides>
  <Notes>1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9</vt:i4>
      </vt:variant>
    </vt:vector>
  </HeadingPairs>
  <TitlesOfParts>
    <vt:vector size="26" baseType="lpstr">
      <vt:lpstr>微软雅黑</vt:lpstr>
      <vt:lpstr>微软雅黑</vt:lpstr>
      <vt:lpstr>Arial</vt:lpstr>
      <vt:lpstr>Calibri</vt:lpstr>
      <vt:lpstr>Wingdings</vt:lpstr>
      <vt:lpstr>Office Theme</vt:lpstr>
      <vt:lpstr>think-cell 幻灯片</vt:lpstr>
      <vt:lpstr>中国2型炎症皮肤病临床研究与均质化诊疗项目 暨2型炎症相关皮肤病全国协作网建设 项目背景及协作单位认证介绍</vt:lpstr>
      <vt:lpstr>PowerPoint 演示文稿</vt:lpstr>
      <vt:lpstr>项目背景</vt:lpstr>
      <vt:lpstr>PowerPoint 演示文稿</vt:lpstr>
      <vt:lpstr>PowerPoint 演示文稿</vt:lpstr>
      <vt:lpstr>PowerPoint 演示文稿</vt:lpstr>
      <vt:lpstr>PowerPoint 演示文稿</vt:lpstr>
      <vt:lpstr>PowerPoint 演示文稿</vt:lpstr>
      <vt:lpstr>PowerPoint 演示文稿</vt:lpstr>
      <vt:lpstr>协作单位认证框架 – 皮炎/湿疹数据库</vt:lpstr>
      <vt:lpstr>PowerPoint 演示文稿</vt:lpstr>
      <vt:lpstr>中国2型炎症皮肤病临床研究均质化诊疗项目第二批协作单位认证核查于11月正式启动</vt:lpstr>
      <vt:lpstr>PowerPoint 演示文稿</vt:lpstr>
      <vt:lpstr>PowerPoint 演示文稿</vt:lpstr>
      <vt:lpstr>培训与数据库管理评分标准 （260分）</vt:lpstr>
      <vt:lpstr>有效初诊病例定义及必填项</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银屑病规范化诊疗中心的立项 背景及应用前景</dc:title>
  <dc:creator>Wang, Emma3 /CN</dc:creator>
  <cp:lastModifiedBy>Zhao, Fang3 /CN</cp:lastModifiedBy>
  <cp:revision>192</cp:revision>
  <dcterms:created xsi:type="dcterms:W3CDTF">2021-03-30T08:47:56Z</dcterms:created>
  <dcterms:modified xsi:type="dcterms:W3CDTF">2022-11-13T06:5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7-24T00:00:00Z</vt:filetime>
  </property>
  <property fmtid="{D5CDD505-2E9C-101B-9397-08002B2CF9AE}" pid="3" name="LastSaved">
    <vt:filetime>2021-03-30T00:00:00Z</vt:filetime>
  </property>
</Properties>
</file>